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3.xml" ContentType="application/vnd.openxmlformats-officedocument.theme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5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6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7" r:id="rId1"/>
    <p:sldMasterId id="2147483680" r:id="rId2"/>
    <p:sldMasterId id="2147483695" r:id="rId3"/>
    <p:sldMasterId id="2147483722" r:id="rId4"/>
    <p:sldMasterId id="2147483729" r:id="rId5"/>
  </p:sldMasterIdLst>
  <p:notesMasterIdLst>
    <p:notesMasterId r:id="rId23"/>
  </p:notesMasterIdLst>
  <p:sldIdLst>
    <p:sldId id="1588" r:id="rId6"/>
    <p:sldId id="1587" r:id="rId7"/>
    <p:sldId id="1598" r:id="rId8"/>
    <p:sldId id="1589" r:id="rId9"/>
    <p:sldId id="1599" r:id="rId10"/>
    <p:sldId id="263" r:id="rId11"/>
    <p:sldId id="1602" r:id="rId12"/>
    <p:sldId id="1603" r:id="rId13"/>
    <p:sldId id="264" r:id="rId14"/>
    <p:sldId id="265" r:id="rId15"/>
    <p:sldId id="266" r:id="rId16"/>
    <p:sldId id="1601" r:id="rId17"/>
    <p:sldId id="268" r:id="rId18"/>
    <p:sldId id="1604" r:id="rId19"/>
    <p:sldId id="1606" r:id="rId20"/>
    <p:sldId id="1595" r:id="rId21"/>
    <p:sldId id="1600" r:id="rId22"/>
  </p:sldIdLst>
  <p:sldSz cx="24384000" cy="13716000"/>
  <p:notesSz cx="6858000" cy="9144000"/>
  <p:defaultTextStyle>
    <a:defPPr marL="0" marR="0" indent="0" algn="l" defTabSz="914400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l" defTabSz="457200" rtl="0" fontAlgn="auto" latinLnBrk="0" hangingPunct="0">
      <a:lnSpc>
        <a:spcPct val="180000"/>
      </a:lnSpc>
      <a:spcBef>
        <a:spcPts val="0"/>
      </a:spcBef>
      <a:spcAft>
        <a:spcPts val="0"/>
      </a:spcAft>
      <a:buClrTx/>
      <a:buSzTx/>
      <a:buFontTx/>
      <a:buNone/>
      <a:tabLst/>
      <a:defRPr kumimoji="0" sz="4200" b="0" i="0" u="none" strike="noStrike" cap="none" spc="42" normalizeH="0" baseline="0">
        <a:ln>
          <a:noFill/>
        </a:ln>
        <a:solidFill>
          <a:srgbClr val="5E5E5E"/>
        </a:solidFill>
        <a:effectLst/>
        <a:uFillTx/>
        <a:latin typeface="Gotham Light"/>
        <a:ea typeface="Gotham Light"/>
        <a:cs typeface="Gotham Light"/>
        <a:sym typeface="Gotham Light"/>
      </a:defRPr>
    </a:lvl1pPr>
    <a:lvl2pPr marL="0" marR="0" indent="0" algn="l" defTabSz="457200" rtl="0" fontAlgn="auto" latinLnBrk="0" hangingPunct="0">
      <a:lnSpc>
        <a:spcPct val="180000"/>
      </a:lnSpc>
      <a:spcBef>
        <a:spcPts val="0"/>
      </a:spcBef>
      <a:spcAft>
        <a:spcPts val="0"/>
      </a:spcAft>
      <a:buClrTx/>
      <a:buSzTx/>
      <a:buFontTx/>
      <a:buNone/>
      <a:tabLst/>
      <a:defRPr kumimoji="0" sz="4200" b="0" i="0" u="none" strike="noStrike" cap="none" spc="42" normalizeH="0" baseline="0">
        <a:ln>
          <a:noFill/>
        </a:ln>
        <a:solidFill>
          <a:srgbClr val="5E5E5E"/>
        </a:solidFill>
        <a:effectLst/>
        <a:uFillTx/>
        <a:latin typeface="Gotham Light"/>
        <a:ea typeface="Gotham Light"/>
        <a:cs typeface="Gotham Light"/>
        <a:sym typeface="Gotham Light"/>
      </a:defRPr>
    </a:lvl2pPr>
    <a:lvl3pPr marL="0" marR="0" indent="0" algn="l" defTabSz="457200" rtl="0" fontAlgn="auto" latinLnBrk="0" hangingPunct="0">
      <a:lnSpc>
        <a:spcPct val="180000"/>
      </a:lnSpc>
      <a:spcBef>
        <a:spcPts val="0"/>
      </a:spcBef>
      <a:spcAft>
        <a:spcPts val="0"/>
      </a:spcAft>
      <a:buClrTx/>
      <a:buSzTx/>
      <a:buFontTx/>
      <a:buNone/>
      <a:tabLst/>
      <a:defRPr kumimoji="0" sz="4200" b="0" i="0" u="none" strike="noStrike" cap="none" spc="42" normalizeH="0" baseline="0">
        <a:ln>
          <a:noFill/>
        </a:ln>
        <a:solidFill>
          <a:srgbClr val="5E5E5E"/>
        </a:solidFill>
        <a:effectLst/>
        <a:uFillTx/>
        <a:latin typeface="Gotham Light"/>
        <a:ea typeface="Gotham Light"/>
        <a:cs typeface="Gotham Light"/>
        <a:sym typeface="Gotham Light"/>
      </a:defRPr>
    </a:lvl3pPr>
    <a:lvl4pPr marL="0" marR="0" indent="0" algn="l" defTabSz="457200" rtl="0" fontAlgn="auto" latinLnBrk="0" hangingPunct="0">
      <a:lnSpc>
        <a:spcPct val="180000"/>
      </a:lnSpc>
      <a:spcBef>
        <a:spcPts val="0"/>
      </a:spcBef>
      <a:spcAft>
        <a:spcPts val="0"/>
      </a:spcAft>
      <a:buClrTx/>
      <a:buSzTx/>
      <a:buFontTx/>
      <a:buNone/>
      <a:tabLst/>
      <a:defRPr kumimoji="0" sz="4200" b="0" i="0" u="none" strike="noStrike" cap="none" spc="42" normalizeH="0" baseline="0">
        <a:ln>
          <a:noFill/>
        </a:ln>
        <a:solidFill>
          <a:srgbClr val="5E5E5E"/>
        </a:solidFill>
        <a:effectLst/>
        <a:uFillTx/>
        <a:latin typeface="Gotham Light"/>
        <a:ea typeface="Gotham Light"/>
        <a:cs typeface="Gotham Light"/>
        <a:sym typeface="Gotham Light"/>
      </a:defRPr>
    </a:lvl4pPr>
    <a:lvl5pPr marL="0" marR="0" indent="0" algn="l" defTabSz="457200" rtl="0" fontAlgn="auto" latinLnBrk="0" hangingPunct="0">
      <a:lnSpc>
        <a:spcPct val="180000"/>
      </a:lnSpc>
      <a:spcBef>
        <a:spcPts val="0"/>
      </a:spcBef>
      <a:spcAft>
        <a:spcPts val="0"/>
      </a:spcAft>
      <a:buClrTx/>
      <a:buSzTx/>
      <a:buFontTx/>
      <a:buNone/>
      <a:tabLst/>
      <a:defRPr kumimoji="0" sz="4200" b="0" i="0" u="none" strike="noStrike" cap="none" spc="42" normalizeH="0" baseline="0">
        <a:ln>
          <a:noFill/>
        </a:ln>
        <a:solidFill>
          <a:srgbClr val="5E5E5E"/>
        </a:solidFill>
        <a:effectLst/>
        <a:uFillTx/>
        <a:latin typeface="Gotham Light"/>
        <a:ea typeface="Gotham Light"/>
        <a:cs typeface="Gotham Light"/>
        <a:sym typeface="Gotham Light"/>
      </a:defRPr>
    </a:lvl5pPr>
    <a:lvl6pPr marL="0" marR="0" indent="0" algn="l" defTabSz="457200" rtl="0" fontAlgn="auto" latinLnBrk="0" hangingPunct="0">
      <a:lnSpc>
        <a:spcPct val="180000"/>
      </a:lnSpc>
      <a:spcBef>
        <a:spcPts val="0"/>
      </a:spcBef>
      <a:spcAft>
        <a:spcPts val="0"/>
      </a:spcAft>
      <a:buClrTx/>
      <a:buSzTx/>
      <a:buFontTx/>
      <a:buNone/>
      <a:tabLst/>
      <a:defRPr kumimoji="0" sz="4200" b="0" i="0" u="none" strike="noStrike" cap="none" spc="42" normalizeH="0" baseline="0">
        <a:ln>
          <a:noFill/>
        </a:ln>
        <a:solidFill>
          <a:srgbClr val="5E5E5E"/>
        </a:solidFill>
        <a:effectLst/>
        <a:uFillTx/>
        <a:latin typeface="Gotham Light"/>
        <a:ea typeface="Gotham Light"/>
        <a:cs typeface="Gotham Light"/>
        <a:sym typeface="Gotham Light"/>
      </a:defRPr>
    </a:lvl6pPr>
    <a:lvl7pPr marL="0" marR="0" indent="0" algn="l" defTabSz="457200" rtl="0" fontAlgn="auto" latinLnBrk="0" hangingPunct="0">
      <a:lnSpc>
        <a:spcPct val="180000"/>
      </a:lnSpc>
      <a:spcBef>
        <a:spcPts val="0"/>
      </a:spcBef>
      <a:spcAft>
        <a:spcPts val="0"/>
      </a:spcAft>
      <a:buClrTx/>
      <a:buSzTx/>
      <a:buFontTx/>
      <a:buNone/>
      <a:tabLst/>
      <a:defRPr kumimoji="0" sz="4200" b="0" i="0" u="none" strike="noStrike" cap="none" spc="42" normalizeH="0" baseline="0">
        <a:ln>
          <a:noFill/>
        </a:ln>
        <a:solidFill>
          <a:srgbClr val="5E5E5E"/>
        </a:solidFill>
        <a:effectLst/>
        <a:uFillTx/>
        <a:latin typeface="Gotham Light"/>
        <a:ea typeface="Gotham Light"/>
        <a:cs typeface="Gotham Light"/>
        <a:sym typeface="Gotham Light"/>
      </a:defRPr>
    </a:lvl7pPr>
    <a:lvl8pPr marL="0" marR="0" indent="0" algn="l" defTabSz="457200" rtl="0" fontAlgn="auto" latinLnBrk="0" hangingPunct="0">
      <a:lnSpc>
        <a:spcPct val="180000"/>
      </a:lnSpc>
      <a:spcBef>
        <a:spcPts val="0"/>
      </a:spcBef>
      <a:spcAft>
        <a:spcPts val="0"/>
      </a:spcAft>
      <a:buClrTx/>
      <a:buSzTx/>
      <a:buFontTx/>
      <a:buNone/>
      <a:tabLst/>
      <a:defRPr kumimoji="0" sz="4200" b="0" i="0" u="none" strike="noStrike" cap="none" spc="42" normalizeH="0" baseline="0">
        <a:ln>
          <a:noFill/>
        </a:ln>
        <a:solidFill>
          <a:srgbClr val="5E5E5E"/>
        </a:solidFill>
        <a:effectLst/>
        <a:uFillTx/>
        <a:latin typeface="Gotham Light"/>
        <a:ea typeface="Gotham Light"/>
        <a:cs typeface="Gotham Light"/>
        <a:sym typeface="Gotham Light"/>
      </a:defRPr>
    </a:lvl8pPr>
    <a:lvl9pPr marL="0" marR="0" indent="0" algn="l" defTabSz="457200" rtl="0" fontAlgn="auto" latinLnBrk="0" hangingPunct="0">
      <a:lnSpc>
        <a:spcPct val="180000"/>
      </a:lnSpc>
      <a:spcBef>
        <a:spcPts val="0"/>
      </a:spcBef>
      <a:spcAft>
        <a:spcPts val="0"/>
      </a:spcAft>
      <a:buClrTx/>
      <a:buSzTx/>
      <a:buFontTx/>
      <a:buNone/>
      <a:tabLst/>
      <a:defRPr kumimoji="0" sz="4200" b="0" i="0" u="none" strike="noStrike" cap="none" spc="42" normalizeH="0" baseline="0">
        <a:ln>
          <a:noFill/>
        </a:ln>
        <a:solidFill>
          <a:srgbClr val="5E5E5E"/>
        </a:solidFill>
        <a:effectLst/>
        <a:uFillTx/>
        <a:latin typeface="Gotham Light"/>
        <a:ea typeface="Gotham Light"/>
        <a:cs typeface="Gotham Light"/>
        <a:sym typeface="Gotham Light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eron Johnson" initials="DJ" lastIdx="1" clrIdx="0">
    <p:extLst>
      <p:ext uri="{19B8F6BF-5375-455C-9EA6-DF929625EA0E}">
        <p15:presenceInfo xmlns:p15="http://schemas.microsoft.com/office/powerpoint/2012/main" userId="S::djohnson@wideopenthinking.com::9b514043-a05f-46dd-afbb-59d872d8100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540"/>
    <a:srgbClr val="DB5A19"/>
    <a:srgbClr val="339933"/>
    <a:srgbClr val="577734"/>
    <a:srgbClr val="FF9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162"/>
    <p:restoredTop sz="94314"/>
  </p:normalViewPr>
  <p:slideViewPr>
    <p:cSldViewPr snapToGrid="0" snapToObjects="1">
      <p:cViewPr varScale="1">
        <p:scale>
          <a:sx n="58" d="100"/>
          <a:sy n="58" d="100"/>
        </p:scale>
        <p:origin x="366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commentAuthors" Target="commentAuthor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6B3196-B5FE-484E-A7FA-82776CDAA90D}" type="datetimeFigureOut">
              <a:rPr lang="en-US" smtClean="0"/>
              <a:t>10/17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F8828D2-78BE-9C43-AE35-B00C23E25E5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55565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png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png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.xml"/><Relationship Id="rId4" Type="http://schemas.openxmlformats.org/officeDocument/2006/relationships/image" Target="../media/image14.emf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.xml"/><Relationship Id="rId4" Type="http://schemas.openxmlformats.org/officeDocument/2006/relationships/image" Target="../media/image14.emf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TItle Slide - Orange">
    <p:bg>
      <p:bgPr>
        <a:solidFill>
          <a:srgbClr val="F0572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4" descr="Picture 4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55195" y="2884231"/>
            <a:ext cx="10680702" cy="791210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71484970"/>
      </p:ext>
    </p:extLst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">
    <p:bg>
      <p:bgPr>
        <a:solidFill>
          <a:srgbClr val="F0572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HIS IS YOUR TITLE PAGE."/>
          <p:cNvSpPr txBox="1">
            <a:spLocks noGrp="1"/>
          </p:cNvSpPr>
          <p:nvPr>
            <p:ph type="body" sz="quarter" idx="15" hasCustomPrompt="1"/>
          </p:nvPr>
        </p:nvSpPr>
        <p:spPr>
          <a:xfrm>
            <a:off x="1501576" y="5622276"/>
            <a:ext cx="17326752" cy="1181858"/>
          </a:xfrm>
          <a:prstGeom prst="rect">
            <a:avLst/>
          </a:prstGeom>
        </p:spPr>
        <p:txBody>
          <a:bodyPr wrap="square" lIns="91438" tIns="91438" rIns="91438" bIns="91438">
            <a:spAutoFit/>
          </a:bodyPr>
          <a:lstStyle>
            <a:lvl1pPr>
              <a:lnSpc>
                <a:spcPct val="90000"/>
              </a:lnSpc>
              <a:defRPr sz="7200" b="0" i="0" spc="180" baseline="0">
                <a:solidFill>
                  <a:srgbClr val="FFFFFF"/>
                </a:solidFill>
                <a:latin typeface="Arial Regular"/>
                <a:ea typeface="Arial Regular"/>
                <a:cs typeface="Arial" charset="0"/>
                <a:sym typeface="Gotham"/>
              </a:defRPr>
            </a:lvl1pPr>
          </a:lstStyle>
          <a:p>
            <a:r>
              <a:rPr lang="en-US" dirty="0"/>
              <a:t>THANKS</a:t>
            </a:r>
            <a:endParaRPr dirty="0"/>
          </a:p>
        </p:txBody>
      </p:sp>
      <p:pic>
        <p:nvPicPr>
          <p:cNvPr id="11" name="Picture 7" descr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7660" y="12095455"/>
            <a:ext cx="22197336" cy="1048430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218820013"/>
      </p:ext>
    </p:extLst>
  </p:cSld>
  <p:clrMapOvr>
    <a:masterClrMapping/>
  </p:clrMapOvr>
  <p:transition spd="med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HIS IS YOUR TITLE PAGE."/>
          <p:cNvSpPr txBox="1">
            <a:spLocks noGrp="1"/>
          </p:cNvSpPr>
          <p:nvPr>
            <p:ph type="body" sz="quarter" idx="15" hasCustomPrompt="1"/>
          </p:nvPr>
        </p:nvSpPr>
        <p:spPr>
          <a:xfrm>
            <a:off x="1501576" y="5622276"/>
            <a:ext cx="17326752" cy="1181858"/>
          </a:xfrm>
          <a:prstGeom prst="rect">
            <a:avLst/>
          </a:prstGeom>
        </p:spPr>
        <p:txBody>
          <a:bodyPr wrap="square" lIns="91438" tIns="91438" rIns="91438" bIns="91438">
            <a:spAutoFit/>
          </a:bodyPr>
          <a:lstStyle>
            <a:lvl1pPr>
              <a:lnSpc>
                <a:spcPct val="90000"/>
              </a:lnSpc>
              <a:defRPr sz="7200" b="0" i="0" spc="180" baseline="0">
                <a:solidFill>
                  <a:srgbClr val="F0572E"/>
                </a:solidFill>
                <a:latin typeface="Arial Regular"/>
                <a:ea typeface="Arial Regular"/>
                <a:cs typeface="Arial" charset="0"/>
                <a:sym typeface="Gotham"/>
              </a:defRPr>
            </a:lvl1pPr>
          </a:lstStyle>
          <a:p>
            <a:r>
              <a:rPr lang="en-US" dirty="0"/>
              <a:t>THANKS</a:t>
            </a:r>
            <a:endParaRPr dirty="0"/>
          </a:p>
        </p:txBody>
      </p:sp>
      <p:pic>
        <p:nvPicPr>
          <p:cNvPr id="10" name="Picture 9" descr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55359" y="12083145"/>
            <a:ext cx="22219638" cy="10605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4041028542"/>
      </p:ext>
    </p:extLst>
  </p:cSld>
  <p:clrMapOvr>
    <a:masterClrMapping/>
  </p:clrMapOvr>
  <p:transition spd="med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Heading 1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4582A53-E04A-48D0-B383-96D1277717C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3" y="2733606"/>
            <a:ext cx="21269325" cy="8853147"/>
          </a:xfrm>
        </p:spPr>
        <p:txBody>
          <a:bodyPr/>
          <a:lstStyle>
            <a:lvl1pPr marL="571500" indent="-57150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lvl1pPr>
            <a:lvl2pPr marL="1319213" indent="457200">
              <a:lnSpc>
                <a:spcPct val="100000"/>
              </a:lnSpc>
              <a:spcAft>
                <a:spcPts val="600"/>
              </a:spcAft>
              <a:buFont typeface="Courier New" panose="02070309020205020404" pitchFamily="49" charset="0"/>
              <a:buChar char="o"/>
              <a:defRPr sz="3600"/>
            </a:lvl2pPr>
            <a:lvl3pPr marL="2913063" indent="-454025">
              <a:lnSpc>
                <a:spcPct val="100000"/>
              </a:lnSpc>
              <a:spcAft>
                <a:spcPts val="600"/>
              </a:spcAft>
              <a:buFont typeface="Wingdings" panose="05000000000000000000" pitchFamily="2" charset="2"/>
              <a:buChar char="§"/>
              <a:defRPr sz="3200"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	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0" name="THIS IS YOUR HEADLINE."/>
          <p:cNvSpPr txBox="1">
            <a:spLocks noGrp="1"/>
          </p:cNvSpPr>
          <p:nvPr>
            <p:ph type="body" sz="quarter" idx="14" hasCustomPrompt="1"/>
          </p:nvPr>
        </p:nvSpPr>
        <p:spPr>
          <a:xfrm>
            <a:off x="1309306" y="1076212"/>
            <a:ext cx="20241388" cy="830993"/>
          </a:xfrm>
          <a:prstGeom prst="rect">
            <a:avLst/>
          </a:prstGeom>
        </p:spPr>
        <p:txBody>
          <a:bodyPr lIns="91438" tIns="91438" rIns="91438" bIns="91438">
            <a:spAutoFit/>
          </a:bodyPr>
          <a:lstStyle>
            <a:lvl1pPr>
              <a:lnSpc>
                <a:spcPct val="100000"/>
              </a:lnSpc>
              <a:defRPr b="1" spc="104">
                <a:solidFill>
                  <a:schemeClr val="accent3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  <a:sym typeface="Gotham"/>
              </a:defRPr>
            </a:lvl1pPr>
          </a:lstStyle>
          <a:p>
            <a:r>
              <a:rPr dirty="0"/>
              <a:t>THIS IS YOUR HEADLINE</a:t>
            </a:r>
          </a:p>
        </p:txBody>
      </p:sp>
      <p:sp>
        <p:nvSpPr>
          <p:cNvPr id="7" name="Page"/>
          <p:cNvSpPr txBox="1"/>
          <p:nvPr userDrawn="1"/>
        </p:nvSpPr>
        <p:spPr>
          <a:xfrm>
            <a:off x="21639370" y="478584"/>
            <a:ext cx="1412121" cy="54008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91438" tIns="91438" rIns="91438" bIns="91438">
            <a:spAutoFit/>
          </a:bodyPr>
          <a:lstStyle>
            <a:lvl1pPr algn="r">
              <a:defRPr sz="1500" b="1" cap="all" spc="214">
                <a:solidFill>
                  <a:srgbClr val="D5D5D5"/>
                </a:solidFill>
                <a:latin typeface="DIN Next LT Pro"/>
                <a:ea typeface="DIN Next LT Pro"/>
                <a:cs typeface="DIN Next LT Pro"/>
                <a:sym typeface="DIN Next LT Pro"/>
              </a:defRPr>
            </a:lvl1pPr>
          </a:lstStyle>
          <a:p>
            <a:r>
              <a:rPr dirty="0">
                <a:latin typeface="Arial" charset="0"/>
                <a:ea typeface="Arial" charset="0"/>
                <a:cs typeface="Arial" charset="0"/>
              </a:rPr>
              <a:t>Page   </a:t>
            </a:r>
          </a:p>
        </p:txBody>
      </p:sp>
      <p:sp>
        <p:nvSpPr>
          <p:cNvPr id="6" name="Rectangle 7">
            <a:extLst>
              <a:ext uri="{FF2B5EF4-FFF2-40B4-BE49-F238E27FC236}">
                <a16:creationId xmlns:a16="http://schemas.microsoft.com/office/drawing/2014/main" id="{BB32891C-9289-4875-9745-CA4336F2A551}"/>
              </a:ext>
            </a:extLst>
          </p:cNvPr>
          <p:cNvSpPr txBox="1">
            <a:spLocks noChangeArrowheads="1"/>
          </p:cNvSpPr>
          <p:nvPr userDrawn="1"/>
        </p:nvSpPr>
        <p:spPr>
          <a:xfrm>
            <a:off x="22950682" y="654422"/>
            <a:ext cx="1195753" cy="309018"/>
          </a:xfrm>
          <a:prstGeom prst="rect">
            <a:avLst/>
          </a:prstGeom>
        </p:spPr>
        <p:txBody>
          <a:bodyPr anchor="b"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61255C1-E4F0-4F15-AC97-4D713043705F}" type="slidenum">
              <a:rPr kumimoji="0" lang="en-US" sz="1500" b="1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lumMod val="40000"/>
                    <a:lumOff val="6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5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40000"/>
                  <a:lumOff val="60000"/>
                </a:scheme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8" name="Picture 2" descr="nama-logo · | Reel Chicago - At the intersection of Chicago Advertising,  Entertainment, Media and Production">
            <a:extLst>
              <a:ext uri="{FF2B5EF4-FFF2-40B4-BE49-F238E27FC236}">
                <a16:creationId xmlns:a16="http://schemas.microsoft.com/office/drawing/2014/main" id="{3C247F57-EB9F-8549-9043-671366983AD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1340911" y="10621552"/>
            <a:ext cx="2348324" cy="25897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13072637"/>
      </p:ext>
    </p:extLst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176715-571F-0D44-BD76-549A26654ED3}" type="datetimeFigureOut">
              <a:rPr lang="en-US" smtClean="0"/>
              <a:t>10/17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BB2798-2609-D64A-B41F-3A40D89B75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886281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TItle Slide - Orange">
    <p:bg>
      <p:bgPr>
        <a:solidFill>
          <a:srgbClr val="F0572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4" descr="Picture 4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55194" y="2884229"/>
            <a:ext cx="10680701" cy="7912101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430528641"/>
      </p:ext>
    </p:extLst>
  </p:cSld>
  <p:clrMapOvr>
    <a:masterClrMapping/>
  </p:clrMapOvr>
  <p:transition spd="med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Title Slide - Half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FLM_HOME_secondary_SPRING2017_800x600_V9A4920.jpg" descr="FLM_HOME_secondary_SPRING2017_800x600_V9A4920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38983" y="-164104"/>
            <a:ext cx="18553795" cy="13915348"/>
          </a:xfrm>
          <a:prstGeom prst="rect">
            <a:avLst/>
          </a:prstGeom>
          <a:ln w="12700">
            <a:miter lim="400000"/>
          </a:ln>
        </p:spPr>
      </p:pic>
      <p:pic>
        <p:nvPicPr>
          <p:cNvPr id="30" name="Image" descr="Image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16200000">
            <a:off x="-5493745" y="-2345658"/>
            <a:ext cx="21186943" cy="12900333"/>
          </a:xfrm>
          <a:prstGeom prst="rect">
            <a:avLst/>
          </a:prstGeom>
          <a:ln w="12700">
            <a:miter lim="400000"/>
          </a:ln>
        </p:spPr>
      </p:pic>
      <p:sp>
        <p:nvSpPr>
          <p:cNvPr id="31" name="December 13, 2017"/>
          <p:cNvSpPr txBox="1">
            <a:spLocks noGrp="1"/>
          </p:cNvSpPr>
          <p:nvPr>
            <p:ph type="body" sz="quarter" idx="13"/>
          </p:nvPr>
        </p:nvSpPr>
        <p:spPr>
          <a:xfrm>
            <a:off x="1626155" y="7640587"/>
            <a:ext cx="4583912" cy="637538"/>
          </a:xfrm>
          <a:prstGeom prst="rect">
            <a:avLst/>
          </a:prstGeom>
        </p:spPr>
        <p:txBody>
          <a:bodyPr wrap="none" lIns="91438" tIns="91438" rIns="91438" bIns="91438">
            <a:spAutoFit/>
          </a:bodyPr>
          <a:lstStyle>
            <a:lvl1pPr>
              <a:lnSpc>
                <a:spcPct val="90000"/>
              </a:lnSpc>
              <a:defRPr sz="3600" spc="107">
                <a:solidFill>
                  <a:srgbClr val="FFFFFF"/>
                </a:solidFill>
              </a:defRPr>
            </a:lvl1pPr>
          </a:lstStyle>
          <a:p>
            <a:r>
              <a:rPr dirty="0"/>
              <a:t>December 13, 2017</a:t>
            </a:r>
          </a:p>
        </p:txBody>
      </p:sp>
      <p:sp>
        <p:nvSpPr>
          <p:cNvPr id="32" name="THIS IS YOUR TITLE PAGE."/>
          <p:cNvSpPr txBox="1">
            <a:spLocks noGrp="1"/>
          </p:cNvSpPr>
          <p:nvPr>
            <p:ph type="body" sz="quarter" idx="14"/>
          </p:nvPr>
        </p:nvSpPr>
        <p:spPr>
          <a:xfrm>
            <a:off x="1501575" y="4429012"/>
            <a:ext cx="8861991" cy="2179054"/>
          </a:xfrm>
          <a:prstGeom prst="rect">
            <a:avLst/>
          </a:prstGeom>
        </p:spPr>
        <p:txBody>
          <a:bodyPr lIns="91438" tIns="91438" rIns="91438" bIns="91438">
            <a:spAutoFit/>
          </a:bodyPr>
          <a:lstStyle>
            <a:lvl1pPr>
              <a:lnSpc>
                <a:spcPct val="90000"/>
              </a:lnSpc>
              <a:defRPr sz="7200" b="1" spc="180">
                <a:solidFill>
                  <a:srgbClr val="FFFFFF"/>
                </a:solidFill>
                <a:latin typeface="Arial" charset="0"/>
                <a:ea typeface="Arial" charset="0"/>
                <a:cs typeface="Arial" charset="0"/>
                <a:sym typeface="Gotham"/>
              </a:defRPr>
            </a:lvl1pPr>
          </a:lstStyle>
          <a:p>
            <a:r>
              <a:rPr dirty="0"/>
              <a:t>THIS IS YOUR TITLE PAGE.</a:t>
            </a:r>
          </a:p>
        </p:txBody>
      </p:sp>
      <p:pic>
        <p:nvPicPr>
          <p:cNvPr id="33" name="Picture 8" descr="Picture 8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673100" y="11588391"/>
            <a:ext cx="21564601" cy="1028701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446906709"/>
      </p:ext>
    </p:extLst>
  </p:cSld>
  <p:clrMapOvr>
    <a:masterClrMapping/>
  </p:clrMapOvr>
  <p:transition spd="med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- Half Imag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FLM_HOME_secondary_SPRING2017_800x600_V9A4920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16036" y="-1265937"/>
            <a:ext cx="20769109" cy="15576832"/>
          </a:xfrm>
          <a:prstGeom prst="rect">
            <a:avLst/>
          </a:prstGeom>
          <a:ln w="12700">
            <a:miter lim="400000"/>
          </a:ln>
        </p:spPr>
      </p:pic>
      <p:pic>
        <p:nvPicPr>
          <p:cNvPr id="30" name="Image" descr="Image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16200000">
            <a:off x="-5493745" y="-2345658"/>
            <a:ext cx="21186943" cy="12900333"/>
          </a:xfrm>
          <a:prstGeom prst="rect">
            <a:avLst/>
          </a:prstGeom>
          <a:ln w="12700">
            <a:miter lim="400000"/>
          </a:ln>
        </p:spPr>
      </p:pic>
      <p:pic>
        <p:nvPicPr>
          <p:cNvPr id="33" name="Picture 8" descr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73100" y="11588391"/>
            <a:ext cx="21564601" cy="1028701"/>
          </a:xfrm>
          <a:prstGeom prst="rect">
            <a:avLst/>
          </a:prstGeom>
          <a:ln w="12700">
            <a:miter lim="400000"/>
          </a:ln>
        </p:spPr>
      </p:pic>
      <p:sp>
        <p:nvSpPr>
          <p:cNvPr id="8" name="December 13, 2017"/>
          <p:cNvSpPr txBox="1">
            <a:spLocks noGrp="1"/>
          </p:cNvSpPr>
          <p:nvPr>
            <p:ph type="body" sz="quarter" idx="13"/>
          </p:nvPr>
        </p:nvSpPr>
        <p:spPr>
          <a:xfrm>
            <a:off x="1626155" y="7640587"/>
            <a:ext cx="4583912" cy="637538"/>
          </a:xfrm>
          <a:prstGeom prst="rect">
            <a:avLst/>
          </a:prstGeom>
        </p:spPr>
        <p:txBody>
          <a:bodyPr wrap="none" lIns="91438" tIns="91438" rIns="91438" bIns="91438">
            <a:spAutoFit/>
          </a:bodyPr>
          <a:lstStyle>
            <a:lvl1pPr>
              <a:lnSpc>
                <a:spcPct val="90000"/>
              </a:lnSpc>
              <a:defRPr sz="3600" spc="107">
                <a:solidFill>
                  <a:srgbClr val="FFFFFF"/>
                </a:solidFill>
              </a:defRPr>
            </a:lvl1pPr>
          </a:lstStyle>
          <a:p>
            <a:r>
              <a:rPr dirty="0"/>
              <a:t>December 13, 2017</a:t>
            </a:r>
          </a:p>
        </p:txBody>
      </p:sp>
      <p:sp>
        <p:nvSpPr>
          <p:cNvPr id="9" name="THIS IS YOUR TITLE PAGE."/>
          <p:cNvSpPr txBox="1">
            <a:spLocks noGrp="1"/>
          </p:cNvSpPr>
          <p:nvPr>
            <p:ph type="body" sz="quarter" idx="14"/>
          </p:nvPr>
        </p:nvSpPr>
        <p:spPr>
          <a:xfrm>
            <a:off x="1501575" y="4429012"/>
            <a:ext cx="8861991" cy="2179054"/>
          </a:xfrm>
          <a:prstGeom prst="rect">
            <a:avLst/>
          </a:prstGeom>
        </p:spPr>
        <p:txBody>
          <a:bodyPr lIns="91438" tIns="91438" rIns="91438" bIns="91438">
            <a:spAutoFit/>
          </a:bodyPr>
          <a:lstStyle>
            <a:lvl1pPr>
              <a:lnSpc>
                <a:spcPct val="90000"/>
              </a:lnSpc>
              <a:defRPr sz="7200" b="1" spc="180">
                <a:solidFill>
                  <a:srgbClr val="FFFFFF"/>
                </a:solidFill>
                <a:latin typeface="Arial" charset="0"/>
                <a:ea typeface="Arial" charset="0"/>
                <a:cs typeface="Arial" charset="0"/>
                <a:sym typeface="Gotham"/>
              </a:defRPr>
            </a:lvl1pPr>
          </a:lstStyle>
          <a:p>
            <a:r>
              <a:rPr dirty="0"/>
              <a:t>THIS IS YOUR TITLE PAGE.</a:t>
            </a:r>
          </a:p>
        </p:txBody>
      </p:sp>
    </p:spTree>
    <p:extLst>
      <p:ext uri="{BB962C8B-B14F-4D97-AF65-F5344CB8AC3E}">
        <p14:creationId xmlns:p14="http://schemas.microsoft.com/office/powerpoint/2010/main" val="2372007608"/>
      </p:ext>
    </p:extLst>
  </p:cSld>
  <p:clrMapOvr>
    <a:masterClrMapping/>
  </p:clrMapOvr>
  <p:transition spd="med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- Half Image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FLM_HOME_secondary_SPRING2017_800x600_V9A4920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48109" y="-1265937"/>
            <a:ext cx="20769109" cy="15576831"/>
          </a:xfrm>
          <a:prstGeom prst="rect">
            <a:avLst/>
          </a:prstGeom>
          <a:ln w="12700">
            <a:miter lim="400000"/>
          </a:ln>
        </p:spPr>
      </p:pic>
      <p:pic>
        <p:nvPicPr>
          <p:cNvPr id="30" name="Image" descr="Image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16200000">
            <a:off x="-5493745" y="-2345658"/>
            <a:ext cx="21186943" cy="12900333"/>
          </a:xfrm>
          <a:prstGeom prst="rect">
            <a:avLst/>
          </a:prstGeom>
          <a:ln w="12700">
            <a:miter lim="400000"/>
          </a:ln>
        </p:spPr>
      </p:pic>
      <p:pic>
        <p:nvPicPr>
          <p:cNvPr id="33" name="Picture 8" descr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73100" y="11588391"/>
            <a:ext cx="21564601" cy="1028701"/>
          </a:xfrm>
          <a:prstGeom prst="rect">
            <a:avLst/>
          </a:prstGeom>
          <a:ln w="12700">
            <a:miter lim="400000"/>
          </a:ln>
        </p:spPr>
      </p:pic>
      <p:sp>
        <p:nvSpPr>
          <p:cNvPr id="8" name="December 13, 2017"/>
          <p:cNvSpPr txBox="1">
            <a:spLocks noGrp="1"/>
          </p:cNvSpPr>
          <p:nvPr>
            <p:ph type="body" sz="quarter" idx="13"/>
          </p:nvPr>
        </p:nvSpPr>
        <p:spPr>
          <a:xfrm>
            <a:off x="1626155" y="7640587"/>
            <a:ext cx="4583912" cy="637538"/>
          </a:xfrm>
          <a:prstGeom prst="rect">
            <a:avLst/>
          </a:prstGeom>
        </p:spPr>
        <p:txBody>
          <a:bodyPr wrap="none" lIns="91438" tIns="91438" rIns="91438" bIns="91438">
            <a:spAutoFit/>
          </a:bodyPr>
          <a:lstStyle>
            <a:lvl1pPr>
              <a:lnSpc>
                <a:spcPct val="90000"/>
              </a:lnSpc>
              <a:defRPr sz="3600" spc="107">
                <a:solidFill>
                  <a:srgbClr val="FFFFFF"/>
                </a:solidFill>
              </a:defRPr>
            </a:lvl1pPr>
          </a:lstStyle>
          <a:p>
            <a:r>
              <a:rPr dirty="0"/>
              <a:t>December 13, 2017</a:t>
            </a:r>
          </a:p>
        </p:txBody>
      </p:sp>
      <p:sp>
        <p:nvSpPr>
          <p:cNvPr id="9" name="THIS IS YOUR TITLE PAGE."/>
          <p:cNvSpPr txBox="1">
            <a:spLocks noGrp="1"/>
          </p:cNvSpPr>
          <p:nvPr>
            <p:ph type="body" sz="quarter" idx="14"/>
          </p:nvPr>
        </p:nvSpPr>
        <p:spPr>
          <a:xfrm>
            <a:off x="1501575" y="4429012"/>
            <a:ext cx="8861991" cy="2179054"/>
          </a:xfrm>
          <a:prstGeom prst="rect">
            <a:avLst/>
          </a:prstGeom>
        </p:spPr>
        <p:txBody>
          <a:bodyPr lIns="91438" tIns="91438" rIns="91438" bIns="91438">
            <a:spAutoFit/>
          </a:bodyPr>
          <a:lstStyle>
            <a:lvl1pPr>
              <a:lnSpc>
                <a:spcPct val="90000"/>
              </a:lnSpc>
              <a:defRPr sz="7200" b="1" spc="180">
                <a:solidFill>
                  <a:srgbClr val="FFFFFF"/>
                </a:solidFill>
                <a:latin typeface="Arial" charset="0"/>
                <a:ea typeface="Arial" charset="0"/>
                <a:cs typeface="Arial" charset="0"/>
                <a:sym typeface="Gotham"/>
              </a:defRPr>
            </a:lvl1pPr>
          </a:lstStyle>
          <a:p>
            <a:r>
              <a:rPr dirty="0"/>
              <a:t>THIS IS YOUR TITLE PAGE.</a:t>
            </a:r>
          </a:p>
        </p:txBody>
      </p:sp>
    </p:spTree>
    <p:extLst>
      <p:ext uri="{BB962C8B-B14F-4D97-AF65-F5344CB8AC3E}">
        <p14:creationId xmlns:p14="http://schemas.microsoft.com/office/powerpoint/2010/main" val="3652296140"/>
      </p:ext>
    </p:extLst>
  </p:cSld>
  <p:clrMapOvr>
    <a:masterClrMapping/>
  </p:clrMapOvr>
  <p:transition spd="med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ondary Setup Page">
    <p:bg>
      <p:bgPr>
        <a:solidFill>
          <a:srgbClr val="F0572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HIS IS YOUR TITLE PAGE."/>
          <p:cNvSpPr txBox="1">
            <a:spLocks noGrp="1"/>
          </p:cNvSpPr>
          <p:nvPr>
            <p:ph type="body" sz="quarter" idx="15" hasCustomPrompt="1"/>
          </p:nvPr>
        </p:nvSpPr>
        <p:spPr>
          <a:xfrm>
            <a:off x="1501575" y="4429012"/>
            <a:ext cx="17326752" cy="2179054"/>
          </a:xfrm>
          <a:prstGeom prst="rect">
            <a:avLst/>
          </a:prstGeom>
        </p:spPr>
        <p:txBody>
          <a:bodyPr wrap="square" lIns="91438" tIns="91438" rIns="91438" bIns="91438">
            <a:spAutoFit/>
          </a:bodyPr>
          <a:lstStyle>
            <a:lvl1pPr>
              <a:lnSpc>
                <a:spcPct val="90000"/>
              </a:lnSpc>
              <a:defRPr sz="7200" b="1" spc="180" baseline="0">
                <a:solidFill>
                  <a:srgbClr val="FFFFFF"/>
                </a:solidFill>
                <a:latin typeface="Arial" charset="0"/>
                <a:ea typeface="Arial" charset="0"/>
                <a:cs typeface="Arial" charset="0"/>
                <a:sym typeface="Gotham"/>
              </a:defRPr>
            </a:lvl1pPr>
          </a:lstStyle>
          <a:p>
            <a:r>
              <a:rPr lang="en-US" dirty="0"/>
              <a:t>THIS IS YOUR SECONDARY SETUP PAGE. USE FOR BREAKS / TITLES.</a:t>
            </a:r>
            <a:endParaRPr dirty="0"/>
          </a:p>
        </p:txBody>
      </p:sp>
      <p:pic>
        <p:nvPicPr>
          <p:cNvPr id="11" name="Picture 7" descr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7659" y="12095453"/>
            <a:ext cx="22197336" cy="1048430"/>
          </a:xfrm>
          <a:prstGeom prst="rect">
            <a:avLst/>
          </a:prstGeom>
          <a:ln w="12700">
            <a:miter lim="400000"/>
          </a:ln>
        </p:spPr>
      </p:pic>
      <p:sp>
        <p:nvSpPr>
          <p:cNvPr id="6" name="Page">
            <a:extLst>
              <a:ext uri="{FF2B5EF4-FFF2-40B4-BE49-F238E27FC236}">
                <a16:creationId xmlns:a16="http://schemas.microsoft.com/office/drawing/2014/main" id="{80D978D4-112A-42CD-805F-0347DA9519EE}"/>
              </a:ext>
            </a:extLst>
          </p:cNvPr>
          <p:cNvSpPr txBox="1"/>
          <p:nvPr userDrawn="1"/>
        </p:nvSpPr>
        <p:spPr>
          <a:xfrm>
            <a:off x="21639370" y="478584"/>
            <a:ext cx="1412121" cy="54008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91438" tIns="91438" rIns="91438" bIns="91438">
            <a:spAutoFit/>
          </a:bodyPr>
          <a:lstStyle>
            <a:lvl1pPr algn="r">
              <a:defRPr sz="1500" b="1" cap="all" spc="214">
                <a:solidFill>
                  <a:srgbClr val="D5D5D5"/>
                </a:solidFill>
                <a:latin typeface="DIN Next LT Pro"/>
                <a:ea typeface="DIN Next LT Pro"/>
                <a:cs typeface="DIN Next LT Pro"/>
                <a:sym typeface="DIN Next LT Pro"/>
              </a:defRPr>
            </a:lvl1pPr>
          </a:lstStyle>
          <a:p>
            <a:r>
              <a:rPr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Page   </a:t>
            </a:r>
          </a:p>
        </p:txBody>
      </p:sp>
      <p:sp>
        <p:nvSpPr>
          <p:cNvPr id="5" name="Rectangle 7">
            <a:extLst>
              <a:ext uri="{FF2B5EF4-FFF2-40B4-BE49-F238E27FC236}">
                <a16:creationId xmlns:a16="http://schemas.microsoft.com/office/drawing/2014/main" id="{F2F9EB75-03BD-40A1-AAA6-41E90E47F645}"/>
              </a:ext>
            </a:extLst>
          </p:cNvPr>
          <p:cNvSpPr txBox="1">
            <a:spLocks noChangeArrowheads="1"/>
          </p:cNvSpPr>
          <p:nvPr userDrawn="1"/>
        </p:nvSpPr>
        <p:spPr>
          <a:xfrm>
            <a:off x="22950682" y="654422"/>
            <a:ext cx="1195753" cy="309018"/>
          </a:xfrm>
          <a:prstGeom prst="rect">
            <a:avLst/>
          </a:prstGeom>
        </p:spPr>
        <p:txBody>
          <a:bodyPr anchor="b"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61255C1-E4F0-4F15-AC97-4D713043705F}" type="slidenum">
              <a:rPr kumimoji="0" lang="en-US" sz="1500" b="1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5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0066233"/>
      </p:ext>
    </p:extLst>
  </p:cSld>
  <p:clrMapOvr>
    <a:masterClrMapping/>
  </p:clrMapOvr>
  <p:transition spd="med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Intro Slide +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Line"/>
          <p:cNvSpPr/>
          <p:nvPr/>
        </p:nvSpPr>
        <p:spPr>
          <a:xfrm flipV="1">
            <a:off x="5985894" y="4544732"/>
            <a:ext cx="1" cy="3065129"/>
          </a:xfrm>
          <a:prstGeom prst="line">
            <a:avLst/>
          </a:prstGeom>
          <a:ln w="25400">
            <a:solidFill>
              <a:srgbClr val="929292"/>
            </a:solidFill>
            <a:miter lim="400000"/>
          </a:ln>
        </p:spPr>
        <p:txBody>
          <a:bodyPr lIns="45718" tIns="45718" rIns="45718" bIns="45718"/>
          <a:lstStyle/>
          <a:p>
            <a:endParaRPr dirty="0"/>
          </a:p>
        </p:txBody>
      </p:sp>
      <p:sp>
        <p:nvSpPr>
          <p:cNvPr id="56" name="Page"/>
          <p:cNvSpPr txBox="1"/>
          <p:nvPr/>
        </p:nvSpPr>
        <p:spPr>
          <a:xfrm>
            <a:off x="21639370" y="478584"/>
            <a:ext cx="1412121" cy="54008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91438" tIns="91438" rIns="91438" bIns="91438">
            <a:spAutoFit/>
          </a:bodyPr>
          <a:lstStyle>
            <a:lvl1pPr algn="r">
              <a:defRPr sz="1500" b="1" cap="all" spc="214">
                <a:solidFill>
                  <a:srgbClr val="D5D5D5"/>
                </a:solidFill>
                <a:latin typeface="DIN Next LT Pro"/>
                <a:ea typeface="DIN Next LT Pro"/>
                <a:cs typeface="DIN Next LT Pro"/>
                <a:sym typeface="DIN Next LT Pro"/>
              </a:defRPr>
            </a:lvl1pPr>
          </a:lstStyle>
          <a:p>
            <a:r>
              <a:rPr dirty="0">
                <a:latin typeface="Arial" charset="0"/>
                <a:ea typeface="Arial" charset="0"/>
                <a:cs typeface="Arial" charset="0"/>
              </a:rPr>
              <a:t>Page   </a:t>
            </a:r>
          </a:p>
        </p:txBody>
      </p:sp>
      <p:sp>
        <p:nvSpPr>
          <p:cNvPr id="8" name="THIS IS YOUR TITLE PAGE."/>
          <p:cNvSpPr txBox="1">
            <a:spLocks noGrp="1"/>
          </p:cNvSpPr>
          <p:nvPr>
            <p:ph type="body" sz="quarter" idx="14"/>
          </p:nvPr>
        </p:nvSpPr>
        <p:spPr>
          <a:xfrm>
            <a:off x="7088025" y="5047919"/>
            <a:ext cx="8861991" cy="2179054"/>
          </a:xfrm>
          <a:prstGeom prst="rect">
            <a:avLst/>
          </a:prstGeom>
        </p:spPr>
        <p:txBody>
          <a:bodyPr lIns="91438" tIns="91438" rIns="91438" bIns="91438">
            <a:spAutoFit/>
          </a:bodyPr>
          <a:lstStyle>
            <a:lvl1pPr>
              <a:lnSpc>
                <a:spcPct val="90000"/>
              </a:lnSpc>
              <a:defRPr sz="7200" b="1" spc="180">
                <a:solidFill>
                  <a:srgbClr val="F0572E"/>
                </a:solidFill>
                <a:latin typeface="Arial" charset="0"/>
                <a:ea typeface="Arial" charset="0"/>
                <a:cs typeface="Arial" charset="0"/>
                <a:sym typeface="Gotham"/>
              </a:defRPr>
            </a:lvl1pPr>
          </a:lstStyle>
          <a:p>
            <a:r>
              <a:rPr dirty="0"/>
              <a:t>THIS IS YOUR TITLE PAGE.</a:t>
            </a:r>
          </a:p>
        </p:txBody>
      </p:sp>
      <p:pic>
        <p:nvPicPr>
          <p:cNvPr id="9" name="Picture 9" descr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55357" y="12083143"/>
            <a:ext cx="22219638" cy="1060573"/>
          </a:xfrm>
          <a:prstGeom prst="rect">
            <a:avLst/>
          </a:prstGeom>
          <a:ln w="12700">
            <a:miter lim="400000"/>
          </a:ln>
        </p:spPr>
      </p:pic>
      <p:sp>
        <p:nvSpPr>
          <p:cNvPr id="6" name="Rectangle 7">
            <a:extLst>
              <a:ext uri="{FF2B5EF4-FFF2-40B4-BE49-F238E27FC236}">
                <a16:creationId xmlns:a16="http://schemas.microsoft.com/office/drawing/2014/main" id="{619C74F3-5322-4028-8BC2-88CD4CF86897}"/>
              </a:ext>
            </a:extLst>
          </p:cNvPr>
          <p:cNvSpPr txBox="1">
            <a:spLocks noChangeArrowheads="1"/>
          </p:cNvSpPr>
          <p:nvPr userDrawn="1"/>
        </p:nvSpPr>
        <p:spPr>
          <a:xfrm>
            <a:off x="22950682" y="654422"/>
            <a:ext cx="1195753" cy="309018"/>
          </a:xfrm>
          <a:prstGeom prst="rect">
            <a:avLst/>
          </a:prstGeom>
        </p:spPr>
        <p:txBody>
          <a:bodyPr anchor="b"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61255C1-E4F0-4F15-AC97-4D713043705F}" type="slidenum">
              <a:rPr kumimoji="0" lang="en-US" sz="1500" b="1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lumMod val="40000"/>
                    <a:lumOff val="6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5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40000"/>
                  <a:lumOff val="60000"/>
                </a:scheme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4299499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Title Slide - Half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FLM_HOME_secondary_SPRING2017_800x600_V9A4920.jpg" descr="FLM_HOME_secondary_SPRING2017_800x600_V9A4920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38984" y="-164104"/>
            <a:ext cx="18553796" cy="13915348"/>
          </a:xfrm>
          <a:prstGeom prst="rect">
            <a:avLst/>
          </a:prstGeom>
          <a:ln w="12700">
            <a:miter lim="400000"/>
          </a:ln>
        </p:spPr>
      </p:pic>
      <p:pic>
        <p:nvPicPr>
          <p:cNvPr id="30" name="Image" descr="Image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>
            <a:off x="-2241087" y="726543"/>
            <a:ext cx="13915350" cy="12134054"/>
          </a:xfrm>
          <a:prstGeom prst="rect">
            <a:avLst/>
          </a:prstGeom>
          <a:ln w="12700">
            <a:miter lim="400000"/>
          </a:ln>
        </p:spPr>
      </p:pic>
      <p:sp>
        <p:nvSpPr>
          <p:cNvPr id="31" name="December 13, 2017"/>
          <p:cNvSpPr txBox="1">
            <a:spLocks noGrp="1"/>
          </p:cNvSpPr>
          <p:nvPr>
            <p:ph type="body" sz="quarter" idx="13"/>
          </p:nvPr>
        </p:nvSpPr>
        <p:spPr>
          <a:xfrm>
            <a:off x="1626156" y="7640589"/>
            <a:ext cx="5017267" cy="683260"/>
          </a:xfrm>
          <a:prstGeom prst="rect">
            <a:avLst/>
          </a:prstGeom>
        </p:spPr>
        <p:txBody>
          <a:bodyPr wrap="none" lIns="91438" tIns="91438" rIns="91438" bIns="91438">
            <a:spAutoFit/>
          </a:bodyPr>
          <a:lstStyle>
            <a:lvl1pPr>
              <a:lnSpc>
                <a:spcPct val="90000"/>
              </a:lnSpc>
              <a:defRPr sz="3600" b="0" i="0" spc="108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HIS IS YOUR TITLE PAGE."/>
          <p:cNvSpPr txBox="1">
            <a:spLocks noGrp="1"/>
          </p:cNvSpPr>
          <p:nvPr>
            <p:ph type="body" sz="quarter" idx="14"/>
          </p:nvPr>
        </p:nvSpPr>
        <p:spPr>
          <a:xfrm>
            <a:off x="1501576" y="4429012"/>
            <a:ext cx="8861992" cy="2179054"/>
          </a:xfrm>
          <a:prstGeom prst="rect">
            <a:avLst/>
          </a:prstGeom>
        </p:spPr>
        <p:txBody>
          <a:bodyPr lIns="91438" tIns="91438" rIns="91438" bIns="91438">
            <a:spAutoFit/>
          </a:bodyPr>
          <a:lstStyle>
            <a:lvl1pPr>
              <a:lnSpc>
                <a:spcPct val="90000"/>
              </a:lnSpc>
              <a:defRPr sz="7200" b="0" i="0" spc="180">
                <a:solidFill>
                  <a:srgbClr val="FFFFFF"/>
                </a:solidFill>
                <a:latin typeface="Arial Regular"/>
                <a:ea typeface="Arial Regular"/>
                <a:cs typeface="Arial" charset="0"/>
                <a:sym typeface="Gotham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33" name="Picture 8" descr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73101" y="11588393"/>
            <a:ext cx="21564602" cy="102870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632587932"/>
      </p:ext>
    </p:extLst>
  </p:cSld>
  <p:clrMapOvr>
    <a:masterClrMapping/>
  </p:clrMapOvr>
  <p:transition spd="med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Heading 1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HIS IS YOUR HEADLINE."/>
          <p:cNvSpPr txBox="1">
            <a:spLocks noGrp="1"/>
          </p:cNvSpPr>
          <p:nvPr>
            <p:ph type="body" sz="quarter" idx="14"/>
          </p:nvPr>
        </p:nvSpPr>
        <p:spPr>
          <a:xfrm>
            <a:off x="1309306" y="1076212"/>
            <a:ext cx="20241388" cy="830993"/>
          </a:xfrm>
          <a:prstGeom prst="rect">
            <a:avLst/>
          </a:prstGeom>
        </p:spPr>
        <p:txBody>
          <a:bodyPr lIns="91438" tIns="91438" rIns="91438" bIns="91438">
            <a:spAutoFit/>
          </a:bodyPr>
          <a:lstStyle>
            <a:lvl1pPr>
              <a:lnSpc>
                <a:spcPct val="100000"/>
              </a:lnSpc>
              <a:defRPr b="1" spc="104">
                <a:solidFill>
                  <a:srgbClr val="F1572D"/>
                </a:solidFill>
                <a:latin typeface="Arial" charset="0"/>
                <a:ea typeface="Arial" charset="0"/>
                <a:cs typeface="Arial" charset="0"/>
                <a:sym typeface="Gotham"/>
              </a:defRPr>
            </a:lvl1pPr>
          </a:lstStyle>
          <a:p>
            <a:r>
              <a:rPr dirty="0"/>
              <a:t>THIS IS YOUR HEADLINE.</a:t>
            </a:r>
          </a:p>
        </p:txBody>
      </p:sp>
      <p:sp>
        <p:nvSpPr>
          <p:cNvPr id="7" name="Page"/>
          <p:cNvSpPr txBox="1"/>
          <p:nvPr userDrawn="1"/>
        </p:nvSpPr>
        <p:spPr>
          <a:xfrm>
            <a:off x="21639370" y="478584"/>
            <a:ext cx="1412121" cy="54008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91438" tIns="91438" rIns="91438" bIns="91438">
            <a:spAutoFit/>
          </a:bodyPr>
          <a:lstStyle>
            <a:lvl1pPr algn="r">
              <a:defRPr sz="1500" b="1" cap="all" spc="214">
                <a:solidFill>
                  <a:srgbClr val="D5D5D5"/>
                </a:solidFill>
                <a:latin typeface="DIN Next LT Pro"/>
                <a:ea typeface="DIN Next LT Pro"/>
                <a:cs typeface="DIN Next LT Pro"/>
                <a:sym typeface="DIN Next LT Pro"/>
              </a:defRPr>
            </a:lvl1pPr>
          </a:lstStyle>
          <a:p>
            <a:r>
              <a:rPr dirty="0">
                <a:latin typeface="Arial" charset="0"/>
                <a:ea typeface="Arial" charset="0"/>
                <a:cs typeface="Arial" charset="0"/>
              </a:rPr>
              <a:t>Page   </a:t>
            </a:r>
          </a:p>
        </p:txBody>
      </p:sp>
      <p:pic>
        <p:nvPicPr>
          <p:cNvPr id="11" name="Picture 9" descr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55357" y="12083143"/>
            <a:ext cx="22219638" cy="1060573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5781FE-6855-4C38-B570-6A9FD2520A0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484313" y="2733607"/>
            <a:ext cx="21269325" cy="5999162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  <a:lvl2pPr marL="1377950" indent="-571500">
              <a:buFont typeface="Arial" panose="020B0604020202020204" pitchFamily="34" charset="0"/>
              <a:buChar char="•"/>
              <a:defRPr/>
            </a:lvl2pPr>
            <a:lvl3pPr marL="571500" indent="-571500">
              <a:buFont typeface="Arial" panose="020B0604020202020204" pitchFamily="34" charset="0"/>
              <a:buChar char="•"/>
              <a:defRPr/>
            </a:lvl3pPr>
            <a:lvl4pPr marL="571500" indent="-571500">
              <a:buFont typeface="Arial" panose="020B0604020202020204" pitchFamily="34" charset="0"/>
              <a:buChar char="•"/>
              <a:defRPr/>
            </a:lvl4pPr>
            <a:lvl5pPr marL="571500" indent="-57150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Rectangle 7">
            <a:extLst>
              <a:ext uri="{FF2B5EF4-FFF2-40B4-BE49-F238E27FC236}">
                <a16:creationId xmlns:a16="http://schemas.microsoft.com/office/drawing/2014/main" id="{BB32891C-9289-4875-9745-CA4336F2A551}"/>
              </a:ext>
            </a:extLst>
          </p:cNvPr>
          <p:cNvSpPr txBox="1">
            <a:spLocks noChangeArrowheads="1"/>
          </p:cNvSpPr>
          <p:nvPr userDrawn="1"/>
        </p:nvSpPr>
        <p:spPr>
          <a:xfrm>
            <a:off x="22950682" y="654422"/>
            <a:ext cx="1195753" cy="309018"/>
          </a:xfrm>
          <a:prstGeom prst="rect">
            <a:avLst/>
          </a:prstGeom>
        </p:spPr>
        <p:txBody>
          <a:bodyPr anchor="b"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61255C1-E4F0-4F15-AC97-4D713043705F}" type="slidenum">
              <a:rPr kumimoji="0" lang="en-US" sz="1500" b="1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lumMod val="40000"/>
                    <a:lumOff val="6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5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40000"/>
                  <a:lumOff val="60000"/>
                </a:scheme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20602491"/>
      </p:ext>
    </p:extLst>
  </p:cSld>
  <p:clrMapOvr>
    <a:masterClrMapping/>
  </p:clrMapOvr>
  <p:transition spd="med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A039B97E-FBA4-44BA-A9D1-DFA2699D7EF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2100983" y="2497380"/>
            <a:ext cx="10505977" cy="8848793"/>
          </a:xfrm>
        </p:spPr>
        <p:txBody>
          <a:bodyPr numCol="2"/>
          <a:lstStyle>
            <a:lvl1pPr marL="0" indent="0">
              <a:buFont typeface="Arial" panose="020B0604020202020204" pitchFamily="34" charset="0"/>
              <a:buNone/>
              <a:defRPr/>
            </a:lvl1pPr>
            <a:lvl2pPr marL="1377950" indent="-571500">
              <a:buFont typeface="Arial" panose="020B0604020202020204" pitchFamily="34" charset="0"/>
              <a:buChar char="•"/>
              <a:defRPr/>
            </a:lvl2pPr>
            <a:lvl3pPr marL="571500" indent="-571500">
              <a:buFont typeface="Arial" panose="020B0604020202020204" pitchFamily="34" charset="0"/>
              <a:buChar char="•"/>
              <a:defRPr/>
            </a:lvl3pPr>
            <a:lvl4pPr marL="571500" indent="-571500">
              <a:buFont typeface="Arial" panose="020B0604020202020204" pitchFamily="34" charset="0"/>
              <a:buChar char="•"/>
              <a:defRPr/>
            </a:lvl4pPr>
            <a:lvl5pPr marL="571500" indent="-57150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8" name="THIS IS YOUR HEADLINE."/>
          <p:cNvSpPr txBox="1">
            <a:spLocks noGrp="1"/>
          </p:cNvSpPr>
          <p:nvPr>
            <p:ph type="body" sz="quarter" idx="14"/>
          </p:nvPr>
        </p:nvSpPr>
        <p:spPr>
          <a:xfrm>
            <a:off x="1309306" y="1076212"/>
            <a:ext cx="20241388" cy="830993"/>
          </a:xfrm>
          <a:prstGeom prst="rect">
            <a:avLst/>
          </a:prstGeom>
        </p:spPr>
        <p:txBody>
          <a:bodyPr lIns="91438" tIns="91438" rIns="91438" bIns="91438">
            <a:spAutoFit/>
          </a:bodyPr>
          <a:lstStyle>
            <a:lvl1pPr>
              <a:lnSpc>
                <a:spcPct val="100000"/>
              </a:lnSpc>
              <a:defRPr b="1" spc="104">
                <a:solidFill>
                  <a:srgbClr val="F1572D"/>
                </a:solidFill>
                <a:latin typeface="Arial" charset="0"/>
                <a:ea typeface="Arial" charset="0"/>
                <a:cs typeface="Arial" charset="0"/>
                <a:sym typeface="Gotham"/>
              </a:defRPr>
            </a:lvl1pPr>
          </a:lstStyle>
          <a:p>
            <a:r>
              <a:rPr dirty="0"/>
              <a:t>THIS IS YOUR HEADLINE.</a:t>
            </a:r>
          </a:p>
        </p:txBody>
      </p:sp>
      <p:sp>
        <p:nvSpPr>
          <p:cNvPr id="9" name="Page"/>
          <p:cNvSpPr txBox="1"/>
          <p:nvPr userDrawn="1"/>
        </p:nvSpPr>
        <p:spPr>
          <a:xfrm>
            <a:off x="21639370" y="478584"/>
            <a:ext cx="1412121" cy="54008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91438" tIns="91438" rIns="91438" bIns="91438">
            <a:spAutoFit/>
          </a:bodyPr>
          <a:lstStyle>
            <a:lvl1pPr algn="r">
              <a:defRPr sz="1500" b="1" cap="all" spc="214">
                <a:solidFill>
                  <a:srgbClr val="D5D5D5"/>
                </a:solidFill>
                <a:latin typeface="DIN Next LT Pro"/>
                <a:ea typeface="DIN Next LT Pro"/>
                <a:cs typeface="DIN Next LT Pro"/>
                <a:sym typeface="DIN Next LT Pro"/>
              </a:defRPr>
            </a:lvl1pPr>
          </a:lstStyle>
          <a:p>
            <a:r>
              <a:rPr dirty="0">
                <a:latin typeface="Arial" charset="0"/>
                <a:ea typeface="Arial" charset="0"/>
                <a:cs typeface="Arial" charset="0"/>
              </a:rPr>
              <a:t>Page   </a:t>
            </a:r>
          </a:p>
        </p:txBody>
      </p:sp>
      <p:pic>
        <p:nvPicPr>
          <p:cNvPr id="12" name="Picture 9" descr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55357" y="12083143"/>
            <a:ext cx="22219638" cy="1060573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829F086-2F1C-4E0D-A30C-F435E6AFD6A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351943" y="2497380"/>
            <a:ext cx="10505977" cy="8848793"/>
          </a:xfrm>
          <a:solidFill>
            <a:srgbClr val="EEEDF0"/>
          </a:solidFill>
        </p:spPr>
        <p:txBody>
          <a:bodyPr anchor="ctr"/>
          <a:lstStyle>
            <a:lvl1pPr algn="ctr">
              <a:defRPr/>
            </a:lvl1pPr>
          </a:lstStyle>
          <a:p>
            <a:endParaRPr lang="en-US" dirty="0"/>
          </a:p>
          <a:p>
            <a:r>
              <a:rPr lang="en-US" dirty="0"/>
              <a:t>Click Icon to Add Image</a:t>
            </a:r>
          </a:p>
        </p:txBody>
      </p:sp>
      <p:sp>
        <p:nvSpPr>
          <p:cNvPr id="7" name="Rectangle 7">
            <a:extLst>
              <a:ext uri="{FF2B5EF4-FFF2-40B4-BE49-F238E27FC236}">
                <a16:creationId xmlns:a16="http://schemas.microsoft.com/office/drawing/2014/main" id="{6B5D86E3-7DE1-4762-9000-E7B4B3BB6DC6}"/>
              </a:ext>
            </a:extLst>
          </p:cNvPr>
          <p:cNvSpPr txBox="1">
            <a:spLocks noChangeArrowheads="1"/>
          </p:cNvSpPr>
          <p:nvPr userDrawn="1"/>
        </p:nvSpPr>
        <p:spPr>
          <a:xfrm>
            <a:off x="22950682" y="654422"/>
            <a:ext cx="1195753" cy="309018"/>
          </a:xfrm>
          <a:prstGeom prst="rect">
            <a:avLst/>
          </a:prstGeom>
        </p:spPr>
        <p:txBody>
          <a:bodyPr anchor="b"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61255C1-E4F0-4F15-AC97-4D713043705F}" type="slidenum">
              <a:rPr kumimoji="0" lang="en-US" sz="1500" b="1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lumMod val="40000"/>
                    <a:lumOff val="6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5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40000"/>
                  <a:lumOff val="60000"/>
                </a:scheme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72746369"/>
      </p:ext>
    </p:extLst>
  </p:cSld>
  <p:clrMapOvr>
    <a:masterClrMapping/>
  </p:clrMapOvr>
  <p:transition spd="med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ree Column +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HIS IS YOUR HEADLINE."/>
          <p:cNvSpPr txBox="1">
            <a:spLocks noGrp="1"/>
          </p:cNvSpPr>
          <p:nvPr>
            <p:ph type="body" sz="quarter" idx="14"/>
          </p:nvPr>
        </p:nvSpPr>
        <p:spPr>
          <a:xfrm>
            <a:off x="1309306" y="1076212"/>
            <a:ext cx="20241388" cy="830993"/>
          </a:xfrm>
          <a:prstGeom prst="rect">
            <a:avLst/>
          </a:prstGeom>
        </p:spPr>
        <p:txBody>
          <a:bodyPr lIns="91438" tIns="91438" rIns="91438" bIns="91438">
            <a:spAutoFit/>
          </a:bodyPr>
          <a:lstStyle>
            <a:lvl1pPr>
              <a:lnSpc>
                <a:spcPct val="100000"/>
              </a:lnSpc>
              <a:defRPr b="1" spc="104">
                <a:solidFill>
                  <a:srgbClr val="F1572D"/>
                </a:solidFill>
                <a:latin typeface="Arial" charset="0"/>
                <a:ea typeface="Arial" charset="0"/>
                <a:cs typeface="Arial" charset="0"/>
                <a:sym typeface="Gotham"/>
              </a:defRPr>
            </a:lvl1pPr>
          </a:lstStyle>
          <a:p>
            <a:r>
              <a:t>THIS IS YOUR HEADLINE.</a:t>
            </a:r>
          </a:p>
        </p:txBody>
      </p:sp>
      <p:sp>
        <p:nvSpPr>
          <p:cNvPr id="13" name="Page"/>
          <p:cNvSpPr txBox="1"/>
          <p:nvPr userDrawn="1"/>
        </p:nvSpPr>
        <p:spPr>
          <a:xfrm>
            <a:off x="21639370" y="478584"/>
            <a:ext cx="1412121" cy="54008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91438" tIns="91438" rIns="91438" bIns="91438">
            <a:spAutoFit/>
          </a:bodyPr>
          <a:lstStyle>
            <a:lvl1pPr algn="r">
              <a:defRPr sz="1500" b="1" cap="all" spc="214">
                <a:solidFill>
                  <a:srgbClr val="D5D5D5"/>
                </a:solidFill>
                <a:latin typeface="DIN Next LT Pro"/>
                <a:ea typeface="DIN Next LT Pro"/>
                <a:cs typeface="DIN Next LT Pro"/>
                <a:sym typeface="DIN Next LT Pro"/>
              </a:defRPr>
            </a:lvl1pPr>
          </a:lstStyle>
          <a:p>
            <a:r>
              <a:rPr dirty="0">
                <a:latin typeface="Arial" charset="0"/>
                <a:ea typeface="Arial" charset="0"/>
                <a:cs typeface="Arial" charset="0"/>
              </a:rPr>
              <a:t>Page   </a:t>
            </a:r>
          </a:p>
        </p:txBody>
      </p:sp>
      <p:pic>
        <p:nvPicPr>
          <p:cNvPr id="16" name="Picture 9" descr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55357" y="12083143"/>
            <a:ext cx="22219638" cy="1060573"/>
          </a:xfrm>
          <a:prstGeom prst="rect">
            <a:avLst/>
          </a:prstGeom>
          <a:ln w="12700">
            <a:miter lim="400000"/>
          </a:ln>
        </p:spPr>
      </p:pic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D0669FFA-EAB9-46C3-9AD2-1E3BF03356C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384298" y="5798244"/>
            <a:ext cx="6498335" cy="5157722"/>
          </a:xfrm>
        </p:spPr>
        <p:txBody>
          <a:bodyPr numCol="2">
            <a:normAutofit/>
          </a:bodyPr>
          <a:lstStyle>
            <a:lvl1pPr marL="0" indent="0">
              <a:buFont typeface="Arial" panose="020B0604020202020204" pitchFamily="34" charset="0"/>
              <a:buNone/>
              <a:defRPr sz="2400"/>
            </a:lvl1pPr>
            <a:lvl2pPr marL="1377950" indent="-571500">
              <a:buFont typeface="Arial" panose="020B0604020202020204" pitchFamily="34" charset="0"/>
              <a:buChar char="•"/>
              <a:defRPr sz="2400"/>
            </a:lvl2pPr>
            <a:lvl3pPr marL="571500" indent="-571500">
              <a:buFont typeface="Arial" panose="020B0604020202020204" pitchFamily="34" charset="0"/>
              <a:buChar char="•"/>
              <a:defRPr/>
            </a:lvl3pPr>
            <a:lvl4pPr marL="571500" indent="-571500">
              <a:buFont typeface="Arial" panose="020B0604020202020204" pitchFamily="34" charset="0"/>
              <a:buChar char="•"/>
              <a:defRPr/>
            </a:lvl4pPr>
            <a:lvl5pPr marL="571500" indent="-57150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F5400BDD-4DED-44FB-A796-F87BC437F03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942832" y="5798244"/>
            <a:ext cx="6498335" cy="5157722"/>
          </a:xfrm>
        </p:spPr>
        <p:txBody>
          <a:bodyPr numCol="2">
            <a:normAutofit/>
          </a:bodyPr>
          <a:lstStyle>
            <a:lvl1pPr marL="0" indent="0">
              <a:buFont typeface="Arial" panose="020B0604020202020204" pitchFamily="34" charset="0"/>
              <a:buNone/>
              <a:defRPr sz="2400"/>
            </a:lvl1pPr>
            <a:lvl2pPr marL="1377950" indent="-571500">
              <a:buFont typeface="Arial" panose="020B0604020202020204" pitchFamily="34" charset="0"/>
              <a:buChar char="•"/>
              <a:defRPr sz="2400"/>
            </a:lvl2pPr>
            <a:lvl3pPr marL="571500" indent="-571500">
              <a:buFont typeface="Arial" panose="020B0604020202020204" pitchFamily="34" charset="0"/>
              <a:buChar char="•"/>
              <a:defRPr/>
            </a:lvl3pPr>
            <a:lvl4pPr marL="571500" indent="-571500">
              <a:buFont typeface="Arial" panose="020B0604020202020204" pitchFamily="34" charset="0"/>
              <a:buChar char="•"/>
              <a:defRPr/>
            </a:lvl4pPr>
            <a:lvl5pPr marL="571500" indent="-57150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8A418939-1969-46D7-834A-0A647C19218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6501366" y="5798244"/>
            <a:ext cx="6498335" cy="5157722"/>
          </a:xfrm>
        </p:spPr>
        <p:txBody>
          <a:bodyPr numCol="2">
            <a:normAutofit/>
          </a:bodyPr>
          <a:lstStyle>
            <a:lvl1pPr marL="0" indent="0">
              <a:buFont typeface="Arial" panose="020B0604020202020204" pitchFamily="34" charset="0"/>
              <a:buNone/>
              <a:defRPr sz="2400"/>
            </a:lvl1pPr>
            <a:lvl2pPr marL="1377950" indent="-571500">
              <a:buFont typeface="Arial" panose="020B0604020202020204" pitchFamily="34" charset="0"/>
              <a:buChar char="•"/>
              <a:defRPr sz="2400"/>
            </a:lvl2pPr>
            <a:lvl3pPr marL="571500" indent="-571500">
              <a:buFont typeface="Arial" panose="020B0604020202020204" pitchFamily="34" charset="0"/>
              <a:buChar char="•"/>
              <a:defRPr/>
            </a:lvl3pPr>
            <a:lvl4pPr marL="571500" indent="-571500">
              <a:buFont typeface="Arial" panose="020B0604020202020204" pitchFamily="34" charset="0"/>
              <a:buChar char="•"/>
              <a:defRPr/>
            </a:lvl4pPr>
            <a:lvl5pPr marL="571500" indent="-57150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BE6D5346-91E8-433A-BD13-C9A16E59C9E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384520" y="2280344"/>
            <a:ext cx="6498114" cy="3305474"/>
          </a:xfrm>
          <a:solidFill>
            <a:srgbClr val="EEEDF0"/>
          </a:solidFill>
        </p:spPr>
        <p:txBody>
          <a:bodyPr anchor="ctr">
            <a:normAutofit/>
          </a:bodyPr>
          <a:lstStyle>
            <a:lvl1pPr algn="ctr">
              <a:defRPr sz="3600"/>
            </a:lvl1pPr>
          </a:lstStyle>
          <a:p>
            <a:endParaRPr lang="en-US" dirty="0"/>
          </a:p>
          <a:p>
            <a:r>
              <a:rPr lang="en-US" dirty="0"/>
              <a:t>Click Icon to Add Image</a:t>
            </a:r>
          </a:p>
        </p:txBody>
      </p:sp>
      <p:sp>
        <p:nvSpPr>
          <p:cNvPr id="20" name="Picture Placeholder 2">
            <a:extLst>
              <a:ext uri="{FF2B5EF4-FFF2-40B4-BE49-F238E27FC236}">
                <a16:creationId xmlns:a16="http://schemas.microsoft.com/office/drawing/2014/main" id="{520102BC-4114-4B5C-A55A-B6084300904C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943053" y="2280344"/>
            <a:ext cx="6498114" cy="3305474"/>
          </a:xfrm>
          <a:solidFill>
            <a:srgbClr val="EEEDF0"/>
          </a:solidFill>
        </p:spPr>
        <p:txBody>
          <a:bodyPr anchor="ctr">
            <a:normAutofit/>
          </a:bodyPr>
          <a:lstStyle>
            <a:lvl1pPr algn="ctr">
              <a:defRPr sz="3600"/>
            </a:lvl1pPr>
          </a:lstStyle>
          <a:p>
            <a:endParaRPr lang="en-US" dirty="0"/>
          </a:p>
          <a:p>
            <a:r>
              <a:rPr lang="en-US" dirty="0"/>
              <a:t>Click Icon to Add Image</a:t>
            </a:r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400A3F39-D14C-4C7B-A869-185DA35D8055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6501366" y="2280344"/>
            <a:ext cx="6498114" cy="3305474"/>
          </a:xfrm>
          <a:solidFill>
            <a:srgbClr val="EEEDF0"/>
          </a:solidFill>
        </p:spPr>
        <p:txBody>
          <a:bodyPr anchor="ctr">
            <a:normAutofit/>
          </a:bodyPr>
          <a:lstStyle>
            <a:lvl1pPr algn="ctr">
              <a:defRPr sz="3600"/>
            </a:lvl1pPr>
          </a:lstStyle>
          <a:p>
            <a:endParaRPr lang="en-US" dirty="0"/>
          </a:p>
          <a:p>
            <a:r>
              <a:rPr lang="en-US" dirty="0"/>
              <a:t>Click Icon to Add Image</a:t>
            </a:r>
          </a:p>
        </p:txBody>
      </p:sp>
      <p:sp>
        <p:nvSpPr>
          <p:cNvPr id="11" name="Rectangle 7">
            <a:extLst>
              <a:ext uri="{FF2B5EF4-FFF2-40B4-BE49-F238E27FC236}">
                <a16:creationId xmlns:a16="http://schemas.microsoft.com/office/drawing/2014/main" id="{DF978DD8-DEA0-4A7D-B53D-CC1FAEF0F5E4}"/>
              </a:ext>
            </a:extLst>
          </p:cNvPr>
          <p:cNvSpPr txBox="1">
            <a:spLocks noChangeArrowheads="1"/>
          </p:cNvSpPr>
          <p:nvPr userDrawn="1"/>
        </p:nvSpPr>
        <p:spPr>
          <a:xfrm>
            <a:off x="22950682" y="654422"/>
            <a:ext cx="1195753" cy="309018"/>
          </a:xfrm>
          <a:prstGeom prst="rect">
            <a:avLst/>
          </a:prstGeom>
        </p:spPr>
        <p:txBody>
          <a:bodyPr anchor="b"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61255C1-E4F0-4F15-AC97-4D713043705F}" type="slidenum">
              <a:rPr kumimoji="0" lang="en-US" sz="1500" b="1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lumMod val="40000"/>
                    <a:lumOff val="6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5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40000"/>
                  <a:lumOff val="60000"/>
                </a:scheme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54557690"/>
      </p:ext>
    </p:extLst>
  </p:cSld>
  <p:clrMapOvr>
    <a:masterClrMapping/>
  </p:clrMapOvr>
  <p:transition spd="med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">
    <p:bg>
      <p:bgPr>
        <a:solidFill>
          <a:srgbClr val="F0572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HIS IS YOUR TITLE PAGE."/>
          <p:cNvSpPr txBox="1">
            <a:spLocks noGrp="1"/>
          </p:cNvSpPr>
          <p:nvPr>
            <p:ph type="body" sz="quarter" idx="15" hasCustomPrompt="1"/>
          </p:nvPr>
        </p:nvSpPr>
        <p:spPr>
          <a:xfrm>
            <a:off x="1501575" y="5622276"/>
            <a:ext cx="17326752" cy="1181858"/>
          </a:xfrm>
          <a:prstGeom prst="rect">
            <a:avLst/>
          </a:prstGeom>
        </p:spPr>
        <p:txBody>
          <a:bodyPr wrap="square" lIns="91438" tIns="91438" rIns="91438" bIns="91438">
            <a:spAutoFit/>
          </a:bodyPr>
          <a:lstStyle>
            <a:lvl1pPr>
              <a:lnSpc>
                <a:spcPct val="90000"/>
              </a:lnSpc>
              <a:defRPr sz="7200" b="1" spc="180" baseline="0">
                <a:solidFill>
                  <a:srgbClr val="FFFFFF"/>
                </a:solidFill>
                <a:latin typeface="Arial" charset="0"/>
                <a:ea typeface="Arial" charset="0"/>
                <a:cs typeface="Arial" charset="0"/>
                <a:sym typeface="Gotham"/>
              </a:defRPr>
            </a:lvl1pPr>
          </a:lstStyle>
          <a:p>
            <a:r>
              <a:rPr lang="en-US" dirty="0"/>
              <a:t>THANKS</a:t>
            </a:r>
            <a:endParaRPr dirty="0"/>
          </a:p>
        </p:txBody>
      </p:sp>
      <p:pic>
        <p:nvPicPr>
          <p:cNvPr id="11" name="Picture 7" descr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7659" y="12095453"/>
            <a:ext cx="22197336" cy="1048430"/>
          </a:xfrm>
          <a:prstGeom prst="rect">
            <a:avLst/>
          </a:prstGeom>
          <a:ln w="12700">
            <a:miter lim="400000"/>
          </a:ln>
        </p:spPr>
      </p:pic>
      <p:sp>
        <p:nvSpPr>
          <p:cNvPr id="10" name="Page">
            <a:extLst>
              <a:ext uri="{FF2B5EF4-FFF2-40B4-BE49-F238E27FC236}">
                <a16:creationId xmlns:a16="http://schemas.microsoft.com/office/drawing/2014/main" id="{E1214AEA-8EC7-447C-90EE-5704D90C5B4A}"/>
              </a:ext>
            </a:extLst>
          </p:cNvPr>
          <p:cNvSpPr txBox="1"/>
          <p:nvPr userDrawn="1"/>
        </p:nvSpPr>
        <p:spPr>
          <a:xfrm>
            <a:off x="21639370" y="478584"/>
            <a:ext cx="1412121" cy="54008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91438" tIns="91438" rIns="91438" bIns="91438">
            <a:spAutoFit/>
          </a:bodyPr>
          <a:lstStyle>
            <a:lvl1pPr algn="r">
              <a:defRPr sz="1500" b="1" cap="all" spc="214">
                <a:solidFill>
                  <a:srgbClr val="D5D5D5"/>
                </a:solidFill>
                <a:latin typeface="DIN Next LT Pro"/>
                <a:ea typeface="DIN Next LT Pro"/>
                <a:cs typeface="DIN Next LT Pro"/>
                <a:sym typeface="DIN Next LT Pro"/>
              </a:defRPr>
            </a:lvl1pPr>
          </a:lstStyle>
          <a:p>
            <a:r>
              <a:rPr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Page   </a:t>
            </a:r>
          </a:p>
        </p:txBody>
      </p:sp>
      <p:sp>
        <p:nvSpPr>
          <p:cNvPr id="5" name="Rectangle 7">
            <a:extLst>
              <a:ext uri="{FF2B5EF4-FFF2-40B4-BE49-F238E27FC236}">
                <a16:creationId xmlns:a16="http://schemas.microsoft.com/office/drawing/2014/main" id="{A9797D71-9ACE-446A-84A1-D27323ABEE1C}"/>
              </a:ext>
            </a:extLst>
          </p:cNvPr>
          <p:cNvSpPr txBox="1">
            <a:spLocks noChangeArrowheads="1"/>
          </p:cNvSpPr>
          <p:nvPr userDrawn="1"/>
        </p:nvSpPr>
        <p:spPr>
          <a:xfrm>
            <a:off x="22950682" y="654422"/>
            <a:ext cx="1195753" cy="309018"/>
          </a:xfrm>
          <a:prstGeom prst="rect">
            <a:avLst/>
          </a:prstGeom>
        </p:spPr>
        <p:txBody>
          <a:bodyPr anchor="b"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61255C1-E4F0-4F15-AC97-4D713043705F}" type="slidenum">
              <a:rPr kumimoji="0" lang="en-US" sz="1500" b="1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5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4912568"/>
      </p:ext>
    </p:extLst>
  </p:cSld>
  <p:clrMapOvr>
    <a:masterClrMapping/>
  </p:clrMapOvr>
  <p:transition spd="med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age"/>
          <p:cNvSpPr txBox="1"/>
          <p:nvPr userDrawn="1"/>
        </p:nvSpPr>
        <p:spPr>
          <a:xfrm>
            <a:off x="21639370" y="463955"/>
            <a:ext cx="1412121" cy="41147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91438" tIns="91438" rIns="91438" bIns="91438">
            <a:spAutoFit/>
          </a:bodyPr>
          <a:lstStyle>
            <a:lvl1pPr algn="r">
              <a:lnSpc>
                <a:spcPct val="100000"/>
              </a:lnSpc>
              <a:defRPr sz="1500" b="1" cap="all" spc="214">
                <a:latin typeface="DIN Next LT Pro"/>
                <a:ea typeface="DIN Next LT Pro"/>
                <a:cs typeface="DIN Next LT Pro"/>
                <a:sym typeface="DIN Next LT Pro"/>
              </a:defRPr>
            </a:lvl1pPr>
          </a:lstStyle>
          <a:p>
            <a:r>
              <a:rPr dirty="0">
                <a:solidFill>
                  <a:srgbClr val="FFFFFF"/>
                </a:solidFill>
                <a:latin typeface="Arial" charset="0"/>
                <a:ea typeface="Arial" charset="0"/>
                <a:cs typeface="Arial" charset="0"/>
              </a:rPr>
              <a:t>Page   </a:t>
            </a:r>
          </a:p>
        </p:txBody>
      </p:sp>
      <p:sp>
        <p:nvSpPr>
          <p:cNvPr id="7" name="THIS IS YOUR TITLE PAGE."/>
          <p:cNvSpPr txBox="1">
            <a:spLocks noGrp="1"/>
          </p:cNvSpPr>
          <p:nvPr>
            <p:ph type="body" sz="quarter" idx="15" hasCustomPrompt="1"/>
          </p:nvPr>
        </p:nvSpPr>
        <p:spPr>
          <a:xfrm>
            <a:off x="1501575" y="5622276"/>
            <a:ext cx="17326752" cy="1181858"/>
          </a:xfrm>
          <a:prstGeom prst="rect">
            <a:avLst/>
          </a:prstGeom>
        </p:spPr>
        <p:txBody>
          <a:bodyPr wrap="square" lIns="91438" tIns="91438" rIns="91438" bIns="91438">
            <a:spAutoFit/>
          </a:bodyPr>
          <a:lstStyle>
            <a:lvl1pPr>
              <a:lnSpc>
                <a:spcPct val="90000"/>
              </a:lnSpc>
              <a:defRPr sz="7200" b="1" spc="180" baseline="0">
                <a:solidFill>
                  <a:srgbClr val="F0572E"/>
                </a:solidFill>
                <a:latin typeface="Arial" charset="0"/>
                <a:ea typeface="Arial" charset="0"/>
                <a:cs typeface="Arial" charset="0"/>
                <a:sym typeface="Gotham"/>
              </a:defRPr>
            </a:lvl1pPr>
          </a:lstStyle>
          <a:p>
            <a:r>
              <a:rPr lang="en-US" dirty="0"/>
              <a:t>THANKS</a:t>
            </a:r>
            <a:endParaRPr dirty="0"/>
          </a:p>
        </p:txBody>
      </p:sp>
      <p:sp>
        <p:nvSpPr>
          <p:cNvPr id="8" name="Page"/>
          <p:cNvSpPr txBox="1"/>
          <p:nvPr userDrawn="1"/>
        </p:nvSpPr>
        <p:spPr>
          <a:xfrm>
            <a:off x="21639370" y="478584"/>
            <a:ext cx="1412121" cy="54008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91438" tIns="91438" rIns="91438" bIns="91438">
            <a:spAutoFit/>
          </a:bodyPr>
          <a:lstStyle>
            <a:lvl1pPr algn="r">
              <a:defRPr sz="1500" b="1" cap="all" spc="214">
                <a:solidFill>
                  <a:srgbClr val="D5D5D5"/>
                </a:solidFill>
                <a:latin typeface="DIN Next LT Pro"/>
                <a:ea typeface="DIN Next LT Pro"/>
                <a:cs typeface="DIN Next LT Pro"/>
                <a:sym typeface="DIN Next LT Pro"/>
              </a:defRPr>
            </a:lvl1pPr>
          </a:lstStyle>
          <a:p>
            <a:r>
              <a:rPr dirty="0">
                <a:latin typeface="Arial" charset="0"/>
                <a:ea typeface="Arial" charset="0"/>
                <a:cs typeface="Arial" charset="0"/>
              </a:rPr>
              <a:t>Page   </a:t>
            </a:r>
          </a:p>
        </p:txBody>
      </p:sp>
      <p:pic>
        <p:nvPicPr>
          <p:cNvPr id="10" name="Picture 9" descr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55357" y="12083143"/>
            <a:ext cx="22219638" cy="1060573"/>
          </a:xfrm>
          <a:prstGeom prst="rect">
            <a:avLst/>
          </a:prstGeom>
          <a:ln w="12700">
            <a:miter lim="400000"/>
          </a:ln>
        </p:spPr>
      </p:pic>
      <p:sp>
        <p:nvSpPr>
          <p:cNvPr id="9" name="Rectangle 7">
            <a:extLst>
              <a:ext uri="{FF2B5EF4-FFF2-40B4-BE49-F238E27FC236}">
                <a16:creationId xmlns:a16="http://schemas.microsoft.com/office/drawing/2014/main" id="{DCE30C62-0967-4BEA-85F9-1749FDD477D9}"/>
              </a:ext>
            </a:extLst>
          </p:cNvPr>
          <p:cNvSpPr txBox="1">
            <a:spLocks noChangeArrowheads="1"/>
          </p:cNvSpPr>
          <p:nvPr userDrawn="1"/>
        </p:nvSpPr>
        <p:spPr>
          <a:xfrm>
            <a:off x="22950682" y="654422"/>
            <a:ext cx="1195753" cy="309018"/>
          </a:xfrm>
          <a:prstGeom prst="rect">
            <a:avLst/>
          </a:prstGeom>
        </p:spPr>
        <p:txBody>
          <a:bodyPr anchor="b"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61255C1-E4F0-4F15-AC97-4D713043705F}" type="slidenum">
              <a:rPr kumimoji="0" lang="en-US" sz="1500" b="1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lumMod val="40000"/>
                    <a:lumOff val="6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5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40000"/>
                  <a:lumOff val="60000"/>
                </a:scheme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93764451"/>
      </p:ext>
    </p:extLst>
  </p:cSld>
  <p:clrMapOvr>
    <a:masterClrMapping/>
  </p:clrMapOvr>
  <p:transition spd="med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524800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0"/>
            <a:ext cx="24384000" cy="3770040"/>
          </a:xfrm>
          <a:prstGeom prst="rect">
            <a:avLst/>
          </a:prstGeom>
          <a:solidFill>
            <a:srgbClr val="2362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latin typeface="Georgia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676400" y="4576562"/>
            <a:ext cx="9621968" cy="777736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2765404" y="4576562"/>
            <a:ext cx="9942196" cy="777736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1508186" y="833378"/>
            <a:ext cx="21213832" cy="0"/>
          </a:xfrm>
          <a:prstGeom prst="line">
            <a:avLst/>
          </a:prstGeom>
          <a:ln>
            <a:solidFill>
              <a:srgbClr val="173D36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>
          <a:xfrm>
            <a:off x="1508186" y="2936662"/>
            <a:ext cx="21213832" cy="0"/>
          </a:xfrm>
          <a:prstGeom prst="line">
            <a:avLst/>
          </a:prstGeom>
          <a:ln>
            <a:solidFill>
              <a:srgbClr val="173D36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1676400" y="1379544"/>
            <a:ext cx="9862824" cy="1160564"/>
          </a:xfrm>
        </p:spPr>
        <p:txBody>
          <a:bodyPr>
            <a:noAutofit/>
          </a:bodyPr>
          <a:lstStyle>
            <a:lvl1pPr>
              <a:defRPr sz="4400" spc="200">
                <a:solidFill>
                  <a:schemeClr val="bg1"/>
                </a:solidFill>
                <a:latin typeface="Arial Narrow"/>
                <a:cs typeface="Arial Narrow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4014195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679577" y="4572190"/>
            <a:ext cx="21158014" cy="786554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0"/>
            <a:ext cx="24384000" cy="3770040"/>
          </a:xfrm>
          <a:prstGeom prst="rect">
            <a:avLst/>
          </a:prstGeom>
          <a:solidFill>
            <a:srgbClr val="2362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 dirty="0">
              <a:latin typeface="Georgia"/>
            </a:endParaRP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1508186" y="833378"/>
            <a:ext cx="21213832" cy="0"/>
          </a:xfrm>
          <a:prstGeom prst="line">
            <a:avLst/>
          </a:prstGeom>
          <a:ln>
            <a:solidFill>
              <a:srgbClr val="173D36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>
            <a:off x="1508186" y="2936662"/>
            <a:ext cx="21213832" cy="0"/>
          </a:xfrm>
          <a:prstGeom prst="line">
            <a:avLst/>
          </a:prstGeom>
          <a:ln>
            <a:solidFill>
              <a:srgbClr val="173D36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1676400" y="1379544"/>
            <a:ext cx="9862824" cy="1160564"/>
          </a:xfrm>
        </p:spPr>
        <p:txBody>
          <a:bodyPr>
            <a:normAutofit/>
          </a:bodyPr>
          <a:lstStyle>
            <a:lvl1pPr>
              <a:defRPr sz="4400" spc="200">
                <a:solidFill>
                  <a:schemeClr val="bg1"/>
                </a:solidFill>
                <a:latin typeface="Arial Narrow"/>
                <a:cs typeface="Arial Narrow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1161248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Use this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" descr="Picture 9">
            <a:extLst>
              <a:ext uri="{FF2B5EF4-FFF2-40B4-BE49-F238E27FC236}">
                <a16:creationId xmlns:a16="http://schemas.microsoft.com/office/drawing/2014/main" id="{EBCAA83A-C262-F340-8B5D-9CFB9005F6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55689" y="12082467"/>
            <a:ext cx="22218650" cy="1062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  <p:sp>
        <p:nvSpPr>
          <p:cNvPr id="6" name="Rectangle 7">
            <a:extLst>
              <a:ext uri="{FF2B5EF4-FFF2-40B4-BE49-F238E27FC236}">
                <a16:creationId xmlns:a16="http://schemas.microsoft.com/office/drawing/2014/main" id="{96477F37-D6A3-5949-8A08-E11B693919D1}"/>
              </a:ext>
            </a:extLst>
          </p:cNvPr>
          <p:cNvSpPr txBox="1">
            <a:spLocks noChangeArrowheads="1"/>
          </p:cNvSpPr>
          <p:nvPr/>
        </p:nvSpPr>
        <p:spPr>
          <a:xfrm>
            <a:off x="1055690" y="12925426"/>
            <a:ext cx="1498600" cy="790576"/>
          </a:xfrm>
          <a:prstGeom prst="rect">
            <a:avLst/>
          </a:prstGeom>
        </p:spPr>
        <p:txBody>
          <a:bodyPr anchor="ctr"/>
          <a:lstStyle>
            <a:lvl1pPr>
              <a:defRPr/>
            </a:lvl1pPr>
          </a:lstStyle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4132E68A-7AA0-4041-A5A8-7958B8689308}" type="slidenum">
              <a:rPr lang="en-US" sz="2100" smtClean="0">
                <a:solidFill>
                  <a:schemeClr val="tx1">
                    <a:lumMod val="40000"/>
                    <a:lumOff val="60000"/>
                  </a:schemeClr>
                </a:solidFill>
                <a:latin typeface="Arial Regular"/>
                <a:ea typeface="+mn-ea"/>
                <a:cs typeface="Arial" panose="020B0604020202020204" pitchFamily="34" charset="0"/>
              </a:rPr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2100" dirty="0">
              <a:solidFill>
                <a:schemeClr val="tx1">
                  <a:lumMod val="40000"/>
                  <a:lumOff val="60000"/>
                </a:schemeClr>
              </a:solidFill>
              <a:latin typeface="Arial Regular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2671167A-1168-A845-A943-4B50EB066271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1309691" y="2550699"/>
            <a:ext cx="21010562" cy="8770938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>
              <a:lnSpc>
                <a:spcPct val="100000"/>
              </a:lnSpc>
              <a:spcBef>
                <a:spcPts val="450"/>
              </a:spcBef>
              <a:tabLst/>
              <a:defRPr sz="3600"/>
            </a:lvl1pPr>
            <a:lvl2pPr marL="616744" indent="-273844">
              <a:lnSpc>
                <a:spcPct val="100000"/>
              </a:lnSpc>
              <a:spcBef>
                <a:spcPts val="450"/>
              </a:spcBef>
              <a:tabLst/>
              <a:defRPr sz="3200"/>
            </a:lvl2pPr>
            <a:lvl3pPr marL="952500" indent="-266700">
              <a:lnSpc>
                <a:spcPct val="100000"/>
              </a:lnSpc>
              <a:spcBef>
                <a:spcPts val="450"/>
              </a:spcBef>
              <a:tabLst/>
              <a:defRPr sz="2800"/>
            </a:lvl3pPr>
            <a:lvl4pPr marL="1287066" indent="-258366">
              <a:lnSpc>
                <a:spcPct val="100000"/>
              </a:lnSpc>
              <a:spcBef>
                <a:spcPts val="450"/>
              </a:spcBef>
              <a:tabLst/>
              <a:defRPr sz="2200"/>
            </a:lvl4pPr>
            <a:lvl5pPr>
              <a:lnSpc>
                <a:spcPct val="100000"/>
              </a:lnSpc>
              <a:spcBef>
                <a:spcPts val="450"/>
              </a:spcBef>
              <a:defRPr sz="18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B7F011C-F067-1F46-983C-C650DD7E87E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295401" y="800100"/>
            <a:ext cx="20250150" cy="117157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4800" b="1" i="0" u="none" strike="noStrike" kern="1200" cap="all" spc="78" baseline="0" dirty="0" smtClean="0">
                <a:ln>
                  <a:noFill/>
                </a:ln>
                <a:solidFill>
                  <a:srgbClr val="F1572D"/>
                </a:solidFill>
                <a:uFillTx/>
                <a:latin typeface="Arial Regular"/>
                <a:ea typeface="Arial Regular"/>
                <a:cs typeface="Arial" charset="0"/>
                <a:sym typeface="Gotham"/>
              </a:defRPr>
            </a:lvl1pPr>
            <a:lvl2pPr marL="342900" indent="0">
              <a:buNone/>
              <a:defRPr/>
            </a:lvl2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311092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37E677-9C0F-4647-9566-C6FC331C87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0B98E7-032D-8D4C-B9F1-B253775D74B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676402" y="3651250"/>
            <a:ext cx="10439400" cy="870267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B0B76B-0220-F448-AAA1-AD9EB1A7ED7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2268202" y="3651250"/>
            <a:ext cx="10439400" cy="870267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C047D9C-CF79-0046-BCD9-36122F75CE1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B605B95-2E9A-684E-BC21-BC6FAD6DB1A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8615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 - Half Imag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FLM_HOME_secondary_SPRING2017_800x600_V9A4920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16037" y="-1265938"/>
            <a:ext cx="20769110" cy="15576832"/>
          </a:xfrm>
          <a:prstGeom prst="rect">
            <a:avLst/>
          </a:prstGeom>
          <a:ln w="12700">
            <a:miter lim="400000"/>
          </a:ln>
        </p:spPr>
      </p:pic>
      <p:pic>
        <p:nvPicPr>
          <p:cNvPr id="30" name="Image" descr="Image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>
            <a:off x="-3247347" y="630971"/>
            <a:ext cx="16180118" cy="12386302"/>
          </a:xfrm>
          <a:prstGeom prst="rect">
            <a:avLst/>
          </a:prstGeom>
          <a:ln w="12700">
            <a:miter lim="400000"/>
          </a:ln>
        </p:spPr>
      </p:pic>
      <p:pic>
        <p:nvPicPr>
          <p:cNvPr id="33" name="Picture 8" descr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73101" y="11588393"/>
            <a:ext cx="21564602" cy="1028702"/>
          </a:xfrm>
          <a:prstGeom prst="rect">
            <a:avLst/>
          </a:prstGeom>
          <a:ln w="12700">
            <a:miter lim="400000"/>
          </a:ln>
        </p:spPr>
      </p:pic>
      <p:sp>
        <p:nvSpPr>
          <p:cNvPr id="8" name="December 13, 2017"/>
          <p:cNvSpPr txBox="1">
            <a:spLocks noGrp="1"/>
          </p:cNvSpPr>
          <p:nvPr>
            <p:ph type="body" sz="quarter" idx="13"/>
          </p:nvPr>
        </p:nvSpPr>
        <p:spPr>
          <a:xfrm>
            <a:off x="1626156" y="7640589"/>
            <a:ext cx="5017267" cy="683260"/>
          </a:xfrm>
          <a:prstGeom prst="rect">
            <a:avLst/>
          </a:prstGeom>
        </p:spPr>
        <p:txBody>
          <a:bodyPr wrap="none" lIns="91438" tIns="91438" rIns="91438" bIns="91438">
            <a:spAutoFit/>
          </a:bodyPr>
          <a:lstStyle>
            <a:lvl1pPr>
              <a:lnSpc>
                <a:spcPct val="90000"/>
              </a:lnSpc>
              <a:defRPr sz="3600" b="0" i="0" spc="108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HIS IS YOUR TITLE PAGE."/>
          <p:cNvSpPr txBox="1">
            <a:spLocks noGrp="1"/>
          </p:cNvSpPr>
          <p:nvPr>
            <p:ph type="body" sz="quarter" idx="14"/>
          </p:nvPr>
        </p:nvSpPr>
        <p:spPr>
          <a:xfrm>
            <a:off x="1501576" y="4429012"/>
            <a:ext cx="8861992" cy="2179054"/>
          </a:xfrm>
          <a:prstGeom prst="rect">
            <a:avLst/>
          </a:prstGeom>
        </p:spPr>
        <p:txBody>
          <a:bodyPr lIns="91438" tIns="91438" rIns="91438" bIns="91438">
            <a:spAutoFit/>
          </a:bodyPr>
          <a:lstStyle>
            <a:lvl1pPr>
              <a:lnSpc>
                <a:spcPct val="90000"/>
              </a:lnSpc>
              <a:defRPr sz="7200" b="0" i="0" spc="180">
                <a:solidFill>
                  <a:srgbClr val="FFFFFF"/>
                </a:solidFill>
                <a:latin typeface="Arial Regular"/>
                <a:ea typeface="Arial Regular"/>
                <a:cs typeface="Arial" charset="0"/>
                <a:sym typeface="Gotham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73909687"/>
      </p:ext>
    </p:extLst>
  </p:cSld>
  <p:clrMapOvr>
    <a:masterClrMapping/>
  </p:clrMapOvr>
  <p:transition spd="med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C49178-1713-6C4A-8A69-8A5D0A50B0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63C7D023-F0AB-2C4B-A01F-E96C95560D1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0582478-28E1-464A-96B0-BEAB1BC1F2E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351242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7C53A8F1-3770-3147-A449-BD7A2BBAEE9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4FA7773-30A2-0745-9CDE-BEF84EB9731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251058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TItle Slide - Orange">
    <p:bg>
      <p:bgPr>
        <a:solidFill>
          <a:srgbClr val="F0572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4" descr="Picture 4">
            <a:extLst>
              <a:ext uri="{FF2B5EF4-FFF2-40B4-BE49-F238E27FC236}">
                <a16:creationId xmlns:a16="http://schemas.microsoft.com/office/drawing/2014/main" id="{FCCA5569-3E59-D94E-8364-4C67F775C67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54827" y="2884488"/>
            <a:ext cx="10680702" cy="7912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7563369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Title Slide - Half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FLM_HOME_secondary_SPRING2017_800x600_V9A4920.jpg" descr="FLM_HOME_secondary_SPRING2017_800x600_V9A4920.jpg">
            <a:extLst>
              <a:ext uri="{FF2B5EF4-FFF2-40B4-BE49-F238E27FC236}">
                <a16:creationId xmlns:a16="http://schemas.microsoft.com/office/drawing/2014/main" id="{F52E9F1D-A62B-0240-9A86-CB57BAE8D1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939214" y="-163513"/>
            <a:ext cx="18553112" cy="13914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  <p:pic>
        <p:nvPicPr>
          <p:cNvPr id="5" name="Image" descr="Image">
            <a:extLst>
              <a:ext uri="{FF2B5EF4-FFF2-40B4-BE49-F238E27FC236}">
                <a16:creationId xmlns:a16="http://schemas.microsoft.com/office/drawing/2014/main" id="{F4503B06-047C-334F-A9D8-42BAC1F10D9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6200000">
            <a:off x="-2240755" y="726285"/>
            <a:ext cx="13914438" cy="12134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  <p:pic>
        <p:nvPicPr>
          <p:cNvPr id="6" name="Picture 8" descr="Picture 8">
            <a:extLst>
              <a:ext uri="{FF2B5EF4-FFF2-40B4-BE49-F238E27FC236}">
                <a16:creationId xmlns:a16="http://schemas.microsoft.com/office/drawing/2014/main" id="{CE8F4175-8CA7-2646-82D0-AB699FB93AD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73226" y="11588750"/>
            <a:ext cx="21564600" cy="1028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  <p:sp>
        <p:nvSpPr>
          <p:cNvPr id="31" name="December 13, 2017"/>
          <p:cNvSpPr txBox="1">
            <a:spLocks noGrp="1"/>
          </p:cNvSpPr>
          <p:nvPr>
            <p:ph type="body" sz="quarter" idx="13"/>
          </p:nvPr>
        </p:nvSpPr>
        <p:spPr>
          <a:xfrm>
            <a:off x="1626154" y="7640588"/>
            <a:ext cx="3806166" cy="558610"/>
          </a:xfrm>
          <a:prstGeom prst="rect">
            <a:avLst/>
          </a:prstGeom>
        </p:spPr>
        <p:txBody>
          <a:bodyPr wrap="none" lIns="91438" tIns="91438" rIns="91438" bIns="91438">
            <a:spAutoFit/>
          </a:bodyPr>
          <a:lstStyle>
            <a:lvl1pPr marL="0" indent="0">
              <a:lnSpc>
                <a:spcPct val="90000"/>
              </a:lnSpc>
              <a:buNone/>
              <a:defRPr sz="2700" b="0" i="0" spc="8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2" name="THIS IS YOUR TITLE PAGE."/>
          <p:cNvSpPr txBox="1">
            <a:spLocks noGrp="1"/>
          </p:cNvSpPr>
          <p:nvPr>
            <p:ph type="body" sz="quarter" idx="14"/>
          </p:nvPr>
        </p:nvSpPr>
        <p:spPr>
          <a:xfrm>
            <a:off x="1501578" y="4429015"/>
            <a:ext cx="8861992" cy="1680456"/>
          </a:xfrm>
          <a:prstGeom prst="rect">
            <a:avLst/>
          </a:prstGeom>
        </p:spPr>
        <p:txBody>
          <a:bodyPr lIns="91438" tIns="91438" rIns="91438" bIns="91438">
            <a:spAutoFit/>
          </a:bodyPr>
          <a:lstStyle>
            <a:lvl1pPr marL="0" indent="0">
              <a:lnSpc>
                <a:spcPct val="90000"/>
              </a:lnSpc>
              <a:buNone/>
              <a:defRPr sz="5400" b="0" i="0" cap="all" spc="136" baseline="0">
                <a:solidFill>
                  <a:srgbClr val="FFFFFF"/>
                </a:solidFill>
                <a:latin typeface="Arial Regular"/>
                <a:ea typeface="Arial Regular"/>
                <a:cs typeface="Arial" charset="0"/>
                <a:sym typeface="Gotham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0682676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ondary Setup Page">
    <p:bg>
      <p:bgPr>
        <a:solidFill>
          <a:srgbClr val="F0572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7" descr="Picture 7">
            <a:extLst>
              <a:ext uri="{FF2B5EF4-FFF2-40B4-BE49-F238E27FC236}">
                <a16:creationId xmlns:a16="http://schemas.microsoft.com/office/drawing/2014/main" id="{598F3D3B-EDDD-9147-86B1-3FA8C2CBB1D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7916" y="12095167"/>
            <a:ext cx="22196424" cy="1049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  <p:sp>
        <p:nvSpPr>
          <p:cNvPr id="8" name="THIS IS YOUR TITLE PAGE."/>
          <p:cNvSpPr txBox="1">
            <a:spLocks noGrp="1"/>
          </p:cNvSpPr>
          <p:nvPr>
            <p:ph type="body" sz="quarter" idx="15"/>
          </p:nvPr>
        </p:nvSpPr>
        <p:spPr>
          <a:xfrm>
            <a:off x="1501576" y="4429012"/>
            <a:ext cx="17326752" cy="932559"/>
          </a:xfrm>
          <a:prstGeom prst="rect">
            <a:avLst/>
          </a:prstGeom>
        </p:spPr>
        <p:txBody>
          <a:bodyPr lIns="91438" tIns="91438" rIns="91438" bIns="91438">
            <a:spAutoFit/>
          </a:bodyPr>
          <a:lstStyle>
            <a:lvl1pPr marL="0" indent="0">
              <a:lnSpc>
                <a:spcPct val="90000"/>
              </a:lnSpc>
              <a:buNone/>
              <a:defRPr sz="5400" b="0" i="0" cap="all" spc="136" baseline="0">
                <a:solidFill>
                  <a:srgbClr val="FFFFFF"/>
                </a:solidFill>
                <a:latin typeface="Arial Regular"/>
                <a:ea typeface="Arial Regular"/>
                <a:cs typeface="Arial" charset="0"/>
                <a:sym typeface="Gotham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1674350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Intro Slide +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Line">
            <a:extLst>
              <a:ext uri="{FF2B5EF4-FFF2-40B4-BE49-F238E27FC236}">
                <a16:creationId xmlns:a16="http://schemas.microsoft.com/office/drawing/2014/main" id="{842103CD-2A7D-C840-B523-796A1F68D1E7}"/>
              </a:ext>
            </a:extLst>
          </p:cNvPr>
          <p:cNvSpPr/>
          <p:nvPr/>
        </p:nvSpPr>
        <p:spPr>
          <a:xfrm flipV="1">
            <a:off x="5986464" y="4545017"/>
            <a:ext cx="0" cy="3065462"/>
          </a:xfrm>
          <a:prstGeom prst="line">
            <a:avLst/>
          </a:prstGeom>
          <a:ln w="25400">
            <a:solidFill>
              <a:srgbClr val="929292"/>
            </a:solidFill>
            <a:miter lim="400000"/>
          </a:ln>
        </p:spPr>
        <p:txBody>
          <a:bodyPr lIns="34288" tIns="34288" rIns="34288" bIns="34288"/>
          <a:lstStyle/>
          <a:p>
            <a:pPr eaLnBrk="1" fontAlgn="auto">
              <a:lnSpc>
                <a:spcPct val="18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sz="1350" kern="0" spc="32" dirty="0"/>
          </a:p>
        </p:txBody>
      </p:sp>
      <p:pic>
        <p:nvPicPr>
          <p:cNvPr id="4" name="Picture 9" descr="Picture 9">
            <a:extLst>
              <a:ext uri="{FF2B5EF4-FFF2-40B4-BE49-F238E27FC236}">
                <a16:creationId xmlns:a16="http://schemas.microsoft.com/office/drawing/2014/main" id="{CF231622-3619-FD4B-8630-BFE02A3CD3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55689" y="12082467"/>
            <a:ext cx="22218650" cy="1062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  <p:sp>
        <p:nvSpPr>
          <p:cNvPr id="8" name="THIS IS YOUR TITLE PAGE."/>
          <p:cNvSpPr txBox="1">
            <a:spLocks noGrp="1"/>
          </p:cNvSpPr>
          <p:nvPr>
            <p:ph type="body" sz="quarter" idx="14"/>
          </p:nvPr>
        </p:nvSpPr>
        <p:spPr>
          <a:xfrm>
            <a:off x="7088026" y="5047923"/>
            <a:ext cx="8861992" cy="1680456"/>
          </a:xfrm>
          <a:prstGeom prst="rect">
            <a:avLst/>
          </a:prstGeom>
        </p:spPr>
        <p:txBody>
          <a:bodyPr lIns="91438" tIns="91438" rIns="91438" bIns="91438">
            <a:spAutoFit/>
          </a:bodyPr>
          <a:lstStyle>
            <a:lvl1pPr>
              <a:lnSpc>
                <a:spcPct val="90000"/>
              </a:lnSpc>
              <a:defRPr sz="5400" b="0" i="0" cap="all" spc="136" baseline="0">
                <a:solidFill>
                  <a:srgbClr val="F0572E"/>
                </a:solidFill>
                <a:latin typeface="Arial Regular"/>
                <a:ea typeface="Arial Regular"/>
                <a:cs typeface="Arial" charset="0"/>
                <a:sym typeface="Gotham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7090387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">
    <p:bg>
      <p:bgPr>
        <a:solidFill>
          <a:srgbClr val="F0572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7" descr="Picture 7">
            <a:extLst>
              <a:ext uri="{FF2B5EF4-FFF2-40B4-BE49-F238E27FC236}">
                <a16:creationId xmlns:a16="http://schemas.microsoft.com/office/drawing/2014/main" id="{45B89049-5BB1-4A48-AE13-78A1308E53F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7916" y="12095167"/>
            <a:ext cx="22196424" cy="1049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  <p:sp>
        <p:nvSpPr>
          <p:cNvPr id="9" name="THIS IS YOUR TITLE PAGE."/>
          <p:cNvSpPr txBox="1">
            <a:spLocks noGrp="1"/>
          </p:cNvSpPr>
          <p:nvPr>
            <p:ph type="body" sz="quarter" idx="15"/>
          </p:nvPr>
        </p:nvSpPr>
        <p:spPr>
          <a:xfrm>
            <a:off x="1501576" y="5622276"/>
            <a:ext cx="17326752" cy="932559"/>
          </a:xfrm>
          <a:prstGeom prst="rect">
            <a:avLst/>
          </a:prstGeom>
        </p:spPr>
        <p:txBody>
          <a:bodyPr lIns="91438" tIns="91438" rIns="91438" bIns="91438">
            <a:spAutoFit/>
          </a:bodyPr>
          <a:lstStyle>
            <a:lvl1pPr marL="0" indent="0">
              <a:lnSpc>
                <a:spcPct val="90000"/>
              </a:lnSpc>
              <a:buNone/>
              <a:defRPr sz="5400" b="0" i="0" cap="all" spc="136" baseline="0">
                <a:solidFill>
                  <a:srgbClr val="FFFFFF"/>
                </a:solidFill>
                <a:latin typeface="Arial Regular"/>
                <a:ea typeface="Arial Regular"/>
                <a:cs typeface="Arial" charset="0"/>
                <a:sym typeface="Gotham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9161399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7" descr="Picture 9">
            <a:extLst>
              <a:ext uri="{FF2B5EF4-FFF2-40B4-BE49-F238E27FC236}">
                <a16:creationId xmlns:a16="http://schemas.microsoft.com/office/drawing/2014/main" id="{11D0FF4E-C262-CB45-9F88-9EF949D4D0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55689" y="12082467"/>
            <a:ext cx="22218650" cy="1062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  <p:sp>
        <p:nvSpPr>
          <p:cNvPr id="7" name="THIS IS YOUR TITLE PAGE."/>
          <p:cNvSpPr txBox="1">
            <a:spLocks noGrp="1"/>
          </p:cNvSpPr>
          <p:nvPr>
            <p:ph type="body" sz="quarter" idx="15"/>
          </p:nvPr>
        </p:nvSpPr>
        <p:spPr>
          <a:xfrm>
            <a:off x="1501576" y="5622276"/>
            <a:ext cx="17326752" cy="932559"/>
          </a:xfrm>
          <a:prstGeom prst="rect">
            <a:avLst/>
          </a:prstGeom>
        </p:spPr>
        <p:txBody>
          <a:bodyPr lIns="91438" tIns="91438" rIns="91438" bIns="91438">
            <a:spAutoFit/>
          </a:bodyPr>
          <a:lstStyle>
            <a:lvl1pPr marL="0" indent="0">
              <a:lnSpc>
                <a:spcPct val="90000"/>
              </a:lnSpc>
              <a:buNone/>
              <a:defRPr sz="5400" b="0" i="0" spc="136" baseline="0">
                <a:solidFill>
                  <a:srgbClr val="F0572E"/>
                </a:solidFill>
                <a:latin typeface="Arial Regular"/>
                <a:ea typeface="Arial Regular"/>
                <a:cs typeface="Arial" charset="0"/>
                <a:sym typeface="Gotham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3217174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Heading 1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2" name="Picture 9" descr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80591" y="11570729"/>
            <a:ext cx="21551902" cy="1028702"/>
          </a:xfrm>
          <a:prstGeom prst="rect">
            <a:avLst/>
          </a:prstGeom>
          <a:ln w="12700">
            <a:miter lim="400000"/>
          </a:ln>
        </p:spPr>
      </p:pic>
      <p:sp>
        <p:nvSpPr>
          <p:cNvPr id="56" name="Page"/>
          <p:cNvSpPr txBox="1"/>
          <p:nvPr/>
        </p:nvSpPr>
        <p:spPr>
          <a:xfrm>
            <a:off x="21639371" y="478584"/>
            <a:ext cx="1412122" cy="54706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91438" tIns="91438" rIns="91438" bIns="91438">
            <a:spAutoFit/>
          </a:bodyPr>
          <a:lstStyle>
            <a:lvl1pPr algn="r">
              <a:defRPr sz="1500" b="1" cap="all" spc="214">
                <a:solidFill>
                  <a:srgbClr val="D5D5D5"/>
                </a:solidFill>
                <a:latin typeface="DIN Next LT Pro"/>
                <a:ea typeface="DIN Next LT Pro"/>
                <a:cs typeface="DIN Next LT Pro"/>
                <a:sym typeface="DIN Next LT Pro"/>
              </a:defRPr>
            </a:lvl1pPr>
          </a:lstStyle>
          <a:p>
            <a:r>
              <a:rPr sz="1500" dirty="0"/>
              <a:t>Page   </a:t>
            </a:r>
          </a:p>
        </p:txBody>
      </p:sp>
      <p:sp>
        <p:nvSpPr>
          <p:cNvPr id="57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22884945" y="517294"/>
            <a:ext cx="518350" cy="436016"/>
          </a:xfrm>
          <a:prstGeom prst="rect">
            <a:avLst/>
          </a:prstGeom>
        </p:spPr>
        <p:txBody>
          <a:bodyPr/>
          <a:lstStyle>
            <a:lvl1pPr algn="r">
              <a:lnSpc>
                <a:spcPct val="100000"/>
              </a:lnSpc>
              <a:defRPr sz="1500" b="1" cap="all" spc="214">
                <a:solidFill>
                  <a:srgbClr val="D5D5D5"/>
                </a:solidFill>
                <a:latin typeface="DIN Next LT Pro"/>
                <a:ea typeface="DIN Next LT Pro"/>
                <a:cs typeface="DIN Next LT Pro"/>
                <a:sym typeface="DIN Next LT Pro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half" idx="13"/>
          </p:nvPr>
        </p:nvSpPr>
        <p:spPr>
          <a:xfrm>
            <a:off x="1484643" y="2737223"/>
            <a:ext cx="21122318" cy="5999478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10" name="THIS IS YOUR HEADLINE."/>
          <p:cNvSpPr txBox="1">
            <a:spLocks noGrp="1"/>
          </p:cNvSpPr>
          <p:nvPr>
            <p:ph type="body" sz="quarter" idx="14"/>
          </p:nvPr>
        </p:nvSpPr>
        <p:spPr>
          <a:xfrm>
            <a:off x="1309306" y="1076213"/>
            <a:ext cx="20241388" cy="553994"/>
          </a:xfrm>
          <a:prstGeom prst="rect">
            <a:avLst/>
          </a:prstGeom>
        </p:spPr>
        <p:txBody>
          <a:bodyPr lIns="91438" tIns="91438" rIns="91438" bIns="91438">
            <a:spAutoFit/>
          </a:bodyPr>
          <a:lstStyle>
            <a:lvl1pPr>
              <a:lnSpc>
                <a:spcPct val="100000"/>
              </a:lnSpc>
              <a:defRPr b="1" spc="104">
                <a:solidFill>
                  <a:srgbClr val="F1572D"/>
                </a:solidFill>
                <a:latin typeface="Gotham"/>
                <a:ea typeface="Gotham"/>
                <a:cs typeface="Gotham"/>
                <a:sym typeface="Gotham"/>
              </a:defRPr>
            </a:lvl1pPr>
          </a:lstStyle>
          <a:p>
            <a:r>
              <a:t>THIS IS YOUR HEADLINE.</a:t>
            </a:r>
          </a:p>
        </p:txBody>
      </p:sp>
    </p:spTree>
    <p:extLst>
      <p:ext uri="{BB962C8B-B14F-4D97-AF65-F5344CB8AC3E}">
        <p14:creationId xmlns:p14="http://schemas.microsoft.com/office/powerpoint/2010/main" val="809464287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Secondary Setup Page">
    <p:bg>
      <p:bgPr>
        <a:solidFill>
          <a:srgbClr val="F0572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4" name="Picture 7" descr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73101" y="11588393"/>
            <a:ext cx="21564602" cy="1028702"/>
          </a:xfrm>
          <a:prstGeom prst="rect">
            <a:avLst/>
          </a:prstGeom>
          <a:ln w="12700">
            <a:miter lim="400000"/>
          </a:ln>
        </p:spPr>
      </p:pic>
      <p:sp>
        <p:nvSpPr>
          <p:cNvPr id="125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22935745" y="504594"/>
            <a:ext cx="518350" cy="436016"/>
          </a:xfrm>
          <a:prstGeom prst="rect">
            <a:avLst/>
          </a:prstGeom>
        </p:spPr>
        <p:txBody>
          <a:bodyPr/>
          <a:lstStyle>
            <a:lvl1pPr algn="r">
              <a:lnSpc>
                <a:spcPct val="100000"/>
              </a:lnSpc>
              <a:defRPr sz="1500" b="1" cap="all" spc="214">
                <a:solidFill>
                  <a:srgbClr val="FFFFFF"/>
                </a:solidFill>
                <a:latin typeface="DIN Next LT Pro"/>
                <a:ea typeface="DIN Next LT Pro"/>
                <a:cs typeface="DIN Next LT Pro"/>
                <a:sym typeface="DIN Next LT Pro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 dirty="0"/>
          </a:p>
        </p:txBody>
      </p:sp>
      <p:sp>
        <p:nvSpPr>
          <p:cNvPr id="126" name="Page"/>
          <p:cNvSpPr txBox="1"/>
          <p:nvPr/>
        </p:nvSpPr>
        <p:spPr>
          <a:xfrm>
            <a:off x="21639371" y="463957"/>
            <a:ext cx="1412122" cy="41549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91438" tIns="91438" rIns="91438" bIns="91438">
            <a:spAutoFit/>
          </a:bodyPr>
          <a:lstStyle>
            <a:lvl1pPr algn="r">
              <a:lnSpc>
                <a:spcPct val="100000"/>
              </a:lnSpc>
              <a:defRPr sz="1500" b="1" cap="all" spc="214">
                <a:latin typeface="DIN Next LT Pro"/>
                <a:ea typeface="DIN Next LT Pro"/>
                <a:cs typeface="DIN Next LT Pro"/>
                <a:sym typeface="DIN Next LT Pro"/>
              </a:defRPr>
            </a:lvl1pPr>
          </a:lstStyle>
          <a:p>
            <a:r>
              <a:rPr sz="1500" dirty="0"/>
              <a:t>Page   </a:t>
            </a:r>
          </a:p>
        </p:txBody>
      </p:sp>
      <p:sp>
        <p:nvSpPr>
          <p:cNvPr id="7" name="THIS IS YOUR INTRO PAGE.…"/>
          <p:cNvSpPr txBox="1"/>
          <p:nvPr userDrawn="1"/>
        </p:nvSpPr>
        <p:spPr>
          <a:xfrm>
            <a:off x="1501576" y="4429012"/>
            <a:ext cx="14468528" cy="18547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91438" tIns="91438" rIns="91438" bIns="91438">
            <a:spAutoFit/>
          </a:bodyPr>
          <a:lstStyle/>
          <a:p>
            <a:pPr>
              <a:defRPr sz="7200" b="1" spc="180">
                <a:solidFill>
                  <a:srgbClr val="F0572C"/>
                </a:solidFill>
                <a:latin typeface="Gotham"/>
                <a:ea typeface="Gotham"/>
                <a:cs typeface="Gotham"/>
                <a:sym typeface="Gotham"/>
              </a:defRPr>
            </a:pPr>
            <a:endParaRPr sz="7200" b="1" spc="180" dirty="0">
              <a:solidFill>
                <a:srgbClr val="FFFFFF"/>
              </a:solidFill>
              <a:latin typeface="Gotham"/>
              <a:ea typeface="Gotham"/>
              <a:cs typeface="Gotham"/>
              <a:sym typeface="Gotham"/>
            </a:endParaRPr>
          </a:p>
        </p:txBody>
      </p:sp>
      <p:sp>
        <p:nvSpPr>
          <p:cNvPr id="9" name="THIS IS YOUR TITLE PAGE."/>
          <p:cNvSpPr txBox="1">
            <a:spLocks noGrp="1"/>
          </p:cNvSpPr>
          <p:nvPr>
            <p:ph type="body" sz="quarter" idx="14" hasCustomPrompt="1"/>
          </p:nvPr>
        </p:nvSpPr>
        <p:spPr>
          <a:xfrm>
            <a:off x="1501576" y="4429012"/>
            <a:ext cx="14757600" cy="2281646"/>
          </a:xfrm>
          <a:prstGeom prst="rect">
            <a:avLst/>
          </a:prstGeom>
        </p:spPr>
        <p:txBody>
          <a:bodyPr wrap="square" lIns="91438" tIns="91438" rIns="91438" bIns="91438">
            <a:spAutoFit/>
          </a:bodyPr>
          <a:lstStyle>
            <a:lvl1pPr>
              <a:lnSpc>
                <a:spcPct val="90000"/>
              </a:lnSpc>
              <a:defRPr sz="7200" b="1" spc="180">
                <a:solidFill>
                  <a:srgbClr val="FFFFFF"/>
                </a:solidFill>
                <a:latin typeface="Gotham"/>
                <a:ea typeface="Gotham"/>
                <a:cs typeface="Gotham"/>
                <a:sym typeface="Gotham"/>
              </a:defRPr>
            </a:lvl1pPr>
          </a:lstStyle>
          <a:p>
            <a:pPr>
              <a:defRPr sz="7200" b="1" spc="180">
                <a:solidFill>
                  <a:srgbClr val="F0572C"/>
                </a:solidFill>
                <a:latin typeface="Gotham"/>
                <a:ea typeface="Gotham"/>
                <a:cs typeface="Gotham"/>
                <a:sym typeface="Gotham"/>
              </a:defRPr>
            </a:pPr>
            <a:r>
              <a:rPr lang="en-US" dirty="0">
                <a:solidFill>
                  <a:schemeClr val="bg1"/>
                </a:solidFill>
              </a:rPr>
              <a:t>THIS IS YOUR INTRO PAGE.</a:t>
            </a:r>
          </a:p>
          <a:p>
            <a:pPr>
              <a:defRPr sz="7200" b="1" spc="180">
                <a:solidFill>
                  <a:srgbClr val="F0572C"/>
                </a:solidFill>
                <a:latin typeface="Gotham"/>
                <a:ea typeface="Gotham"/>
                <a:cs typeface="Gotham"/>
                <a:sym typeface="Gotham"/>
              </a:defRPr>
            </a:pPr>
            <a:r>
              <a:rPr lang="en-US" dirty="0">
                <a:solidFill>
                  <a:schemeClr val="bg1"/>
                </a:solidFill>
              </a:rPr>
              <a:t>OR SECONDARY/SETUP.</a:t>
            </a:r>
          </a:p>
        </p:txBody>
      </p:sp>
    </p:spTree>
    <p:extLst>
      <p:ext uri="{BB962C8B-B14F-4D97-AF65-F5344CB8AC3E}">
        <p14:creationId xmlns:p14="http://schemas.microsoft.com/office/powerpoint/2010/main" val="982522627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Slide - Half Image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FLM_HOME_secondary_SPRING2017_800x600_V9A4920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48111" y="-1265938"/>
            <a:ext cx="20769110" cy="15576832"/>
          </a:xfrm>
          <a:prstGeom prst="rect">
            <a:avLst/>
          </a:prstGeom>
          <a:ln w="12700">
            <a:miter lim="400000"/>
          </a:ln>
        </p:spPr>
      </p:pic>
      <p:pic>
        <p:nvPicPr>
          <p:cNvPr id="30" name="Image" descr="Image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>
            <a:off x="-3073446" y="457068"/>
            <a:ext cx="16085524" cy="12639512"/>
          </a:xfrm>
          <a:prstGeom prst="rect">
            <a:avLst/>
          </a:prstGeom>
          <a:ln w="12700">
            <a:miter lim="400000"/>
          </a:ln>
        </p:spPr>
      </p:pic>
      <p:pic>
        <p:nvPicPr>
          <p:cNvPr id="33" name="Picture 8" descr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73101" y="11588393"/>
            <a:ext cx="21564602" cy="1028702"/>
          </a:xfrm>
          <a:prstGeom prst="rect">
            <a:avLst/>
          </a:prstGeom>
          <a:ln w="12700">
            <a:miter lim="400000"/>
          </a:ln>
        </p:spPr>
      </p:pic>
      <p:sp>
        <p:nvSpPr>
          <p:cNvPr id="8" name="December 13, 2017"/>
          <p:cNvSpPr txBox="1">
            <a:spLocks noGrp="1"/>
          </p:cNvSpPr>
          <p:nvPr>
            <p:ph type="body" sz="quarter" idx="13"/>
          </p:nvPr>
        </p:nvSpPr>
        <p:spPr>
          <a:xfrm>
            <a:off x="1626156" y="7640589"/>
            <a:ext cx="5017267" cy="683260"/>
          </a:xfrm>
          <a:prstGeom prst="rect">
            <a:avLst/>
          </a:prstGeom>
        </p:spPr>
        <p:txBody>
          <a:bodyPr wrap="none" lIns="91438" tIns="91438" rIns="91438" bIns="91438">
            <a:spAutoFit/>
          </a:bodyPr>
          <a:lstStyle>
            <a:lvl1pPr>
              <a:lnSpc>
                <a:spcPct val="90000"/>
              </a:lnSpc>
              <a:defRPr sz="3600" b="0" i="0" spc="108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HIS IS YOUR TITLE PAGE."/>
          <p:cNvSpPr txBox="1">
            <a:spLocks noGrp="1"/>
          </p:cNvSpPr>
          <p:nvPr>
            <p:ph type="body" sz="quarter" idx="14"/>
          </p:nvPr>
        </p:nvSpPr>
        <p:spPr>
          <a:xfrm>
            <a:off x="1501576" y="4429012"/>
            <a:ext cx="8861992" cy="2179054"/>
          </a:xfrm>
          <a:prstGeom prst="rect">
            <a:avLst/>
          </a:prstGeom>
        </p:spPr>
        <p:txBody>
          <a:bodyPr lIns="91438" tIns="91438" rIns="91438" bIns="91438">
            <a:spAutoFit/>
          </a:bodyPr>
          <a:lstStyle>
            <a:lvl1pPr>
              <a:lnSpc>
                <a:spcPct val="90000"/>
              </a:lnSpc>
              <a:defRPr sz="7200" b="0" i="0" spc="180">
                <a:solidFill>
                  <a:srgbClr val="FFFFFF"/>
                </a:solidFill>
                <a:latin typeface="Arial Regular"/>
                <a:ea typeface="Arial Regular"/>
                <a:cs typeface="Arial" charset="0"/>
                <a:sym typeface="Gotham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32750289"/>
      </p:ext>
    </p:extLst>
  </p:cSld>
  <p:clrMapOvr>
    <a:masterClrMapping/>
  </p:clrMapOvr>
  <p:transition spd="med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losing">
    <p:bg>
      <p:bgPr>
        <a:solidFill>
          <a:srgbClr val="F0572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4" name="Picture 7" descr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73101" y="11588393"/>
            <a:ext cx="21564602" cy="1028702"/>
          </a:xfrm>
          <a:prstGeom prst="rect">
            <a:avLst/>
          </a:prstGeom>
          <a:ln w="12700">
            <a:miter lim="400000"/>
          </a:ln>
        </p:spPr>
      </p:pic>
      <p:sp>
        <p:nvSpPr>
          <p:cNvPr id="125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22935745" y="504594"/>
            <a:ext cx="518350" cy="436016"/>
          </a:xfrm>
          <a:prstGeom prst="rect">
            <a:avLst/>
          </a:prstGeom>
        </p:spPr>
        <p:txBody>
          <a:bodyPr/>
          <a:lstStyle>
            <a:lvl1pPr algn="r">
              <a:lnSpc>
                <a:spcPct val="100000"/>
              </a:lnSpc>
              <a:defRPr sz="1500" b="1" cap="all" spc="214">
                <a:solidFill>
                  <a:srgbClr val="FFFFFF"/>
                </a:solidFill>
                <a:latin typeface="DIN Next LT Pro"/>
                <a:ea typeface="DIN Next LT Pro"/>
                <a:cs typeface="DIN Next LT Pro"/>
                <a:sym typeface="DIN Next LT Pro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 dirty="0"/>
          </a:p>
        </p:txBody>
      </p:sp>
      <p:sp>
        <p:nvSpPr>
          <p:cNvPr id="126" name="Page"/>
          <p:cNvSpPr txBox="1"/>
          <p:nvPr/>
        </p:nvSpPr>
        <p:spPr>
          <a:xfrm>
            <a:off x="21639371" y="463957"/>
            <a:ext cx="1412122" cy="41549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91438" tIns="91438" rIns="91438" bIns="91438">
            <a:spAutoFit/>
          </a:bodyPr>
          <a:lstStyle>
            <a:lvl1pPr algn="r">
              <a:lnSpc>
                <a:spcPct val="100000"/>
              </a:lnSpc>
              <a:defRPr sz="1500" b="1" cap="all" spc="214">
                <a:latin typeface="DIN Next LT Pro"/>
                <a:ea typeface="DIN Next LT Pro"/>
                <a:cs typeface="DIN Next LT Pro"/>
                <a:sym typeface="DIN Next LT Pro"/>
              </a:defRPr>
            </a:lvl1pPr>
          </a:lstStyle>
          <a:p>
            <a:r>
              <a:rPr sz="1500" dirty="0"/>
              <a:t>Page   </a:t>
            </a:r>
          </a:p>
        </p:txBody>
      </p:sp>
      <p:sp>
        <p:nvSpPr>
          <p:cNvPr id="6" name="THIS IS YOUR TITLE PAGE."/>
          <p:cNvSpPr txBox="1">
            <a:spLocks noGrp="1"/>
          </p:cNvSpPr>
          <p:nvPr>
            <p:ph type="body" sz="quarter" idx="14" hasCustomPrompt="1"/>
          </p:nvPr>
        </p:nvSpPr>
        <p:spPr>
          <a:xfrm>
            <a:off x="1673100" y="5029736"/>
            <a:ext cx="8861992" cy="1181858"/>
          </a:xfrm>
          <a:prstGeom prst="rect">
            <a:avLst/>
          </a:prstGeom>
        </p:spPr>
        <p:txBody>
          <a:bodyPr lIns="91438" tIns="91438" rIns="91438" bIns="91438">
            <a:spAutoFit/>
          </a:bodyPr>
          <a:lstStyle>
            <a:lvl1pPr>
              <a:lnSpc>
                <a:spcPct val="90000"/>
              </a:lnSpc>
              <a:defRPr sz="7200" b="1" spc="180">
                <a:solidFill>
                  <a:srgbClr val="FFFFFF"/>
                </a:solidFill>
                <a:latin typeface="Gotham"/>
                <a:ea typeface="Gotham"/>
                <a:cs typeface="Gotham"/>
                <a:sym typeface="Gotham"/>
              </a:defRPr>
            </a:lvl1pPr>
          </a:lstStyle>
          <a:p>
            <a:r>
              <a:rPr lang="en-US" dirty="0"/>
              <a:t>THANKS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825565662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Page"/>
          <p:cNvSpPr txBox="1"/>
          <p:nvPr/>
        </p:nvSpPr>
        <p:spPr>
          <a:xfrm>
            <a:off x="21639371" y="478584"/>
            <a:ext cx="1412122" cy="54706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91438" tIns="91438" rIns="91438" bIns="91438">
            <a:spAutoFit/>
          </a:bodyPr>
          <a:lstStyle>
            <a:lvl1pPr algn="r">
              <a:defRPr sz="1500" b="1" cap="all" spc="214">
                <a:solidFill>
                  <a:srgbClr val="D5D5D5"/>
                </a:solidFill>
                <a:latin typeface="DIN Next LT Pro"/>
                <a:ea typeface="DIN Next LT Pro"/>
                <a:cs typeface="DIN Next LT Pro"/>
                <a:sym typeface="DIN Next LT Pro"/>
              </a:defRPr>
            </a:lvl1pPr>
          </a:lstStyle>
          <a:p>
            <a:r>
              <a:rPr sz="1500" dirty="0"/>
              <a:t>Page   </a:t>
            </a:r>
          </a:p>
        </p:txBody>
      </p:sp>
      <p:pic>
        <p:nvPicPr>
          <p:cNvPr id="135" name="Picture 9" descr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80591" y="11570729"/>
            <a:ext cx="21551902" cy="1028702"/>
          </a:xfrm>
          <a:prstGeom prst="rect">
            <a:avLst/>
          </a:prstGeom>
          <a:ln w="12700">
            <a:miter lim="400000"/>
          </a:ln>
        </p:spPr>
      </p:pic>
      <p:sp>
        <p:nvSpPr>
          <p:cNvPr id="136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22965639" y="519224"/>
            <a:ext cx="518350" cy="436016"/>
          </a:xfrm>
          <a:prstGeom prst="rect">
            <a:avLst/>
          </a:prstGeom>
        </p:spPr>
        <p:txBody>
          <a:bodyPr/>
          <a:lstStyle>
            <a:lvl1pPr algn="r">
              <a:lnSpc>
                <a:spcPct val="100000"/>
              </a:lnSpc>
              <a:defRPr sz="1500" b="1" cap="all" spc="214">
                <a:solidFill>
                  <a:srgbClr val="D5D5D5"/>
                </a:solidFill>
                <a:latin typeface="DIN Next LT Pro"/>
                <a:ea typeface="DIN Next LT Pro"/>
                <a:cs typeface="DIN Next LT Pro"/>
                <a:sym typeface="DIN Next LT Pro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804494884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wo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Page"/>
          <p:cNvSpPr txBox="1"/>
          <p:nvPr/>
        </p:nvSpPr>
        <p:spPr>
          <a:xfrm>
            <a:off x="21639371" y="478584"/>
            <a:ext cx="1412122" cy="54706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91438" tIns="91438" rIns="91438" bIns="91438">
            <a:spAutoFit/>
          </a:bodyPr>
          <a:lstStyle>
            <a:lvl1pPr algn="r">
              <a:defRPr sz="1500" b="1" cap="all" spc="214">
                <a:solidFill>
                  <a:srgbClr val="D5D5D5"/>
                </a:solidFill>
                <a:latin typeface="DIN Next LT Pro"/>
                <a:ea typeface="DIN Next LT Pro"/>
                <a:cs typeface="DIN Next LT Pro"/>
                <a:sym typeface="DIN Next LT Pro"/>
              </a:defRPr>
            </a:lvl1pPr>
          </a:lstStyle>
          <a:p>
            <a:r>
              <a:rPr sz="1500" dirty="0"/>
              <a:t>Page   </a:t>
            </a:r>
          </a:p>
        </p:txBody>
      </p:sp>
      <p:sp>
        <p:nvSpPr>
          <p:cNvPr id="88" name="THIS IS YOUR HEADLINE."/>
          <p:cNvSpPr txBox="1">
            <a:spLocks noGrp="1"/>
          </p:cNvSpPr>
          <p:nvPr>
            <p:ph type="body" sz="quarter" idx="14"/>
          </p:nvPr>
        </p:nvSpPr>
        <p:spPr>
          <a:xfrm>
            <a:off x="1309306" y="1076213"/>
            <a:ext cx="20241388" cy="553994"/>
          </a:xfrm>
          <a:prstGeom prst="rect">
            <a:avLst/>
          </a:prstGeom>
        </p:spPr>
        <p:txBody>
          <a:bodyPr lIns="91438" tIns="91438" rIns="91438" bIns="91438">
            <a:spAutoFit/>
          </a:bodyPr>
          <a:lstStyle>
            <a:lvl1pPr>
              <a:lnSpc>
                <a:spcPct val="100000"/>
              </a:lnSpc>
              <a:defRPr b="1" spc="104">
                <a:solidFill>
                  <a:srgbClr val="F1572D"/>
                </a:solidFill>
                <a:latin typeface="Gotham"/>
                <a:ea typeface="Gotham"/>
                <a:cs typeface="Gotham"/>
                <a:sym typeface="Gotham"/>
              </a:defRPr>
            </a:lvl1pPr>
          </a:lstStyle>
          <a:p>
            <a:r>
              <a:t>THIS IS YOUR HEADLINE.</a:t>
            </a:r>
          </a:p>
        </p:txBody>
      </p:sp>
      <p:pic>
        <p:nvPicPr>
          <p:cNvPr id="89" name="Picture 9" descr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80591" y="11570729"/>
            <a:ext cx="21551902" cy="1028702"/>
          </a:xfrm>
          <a:prstGeom prst="rect">
            <a:avLst/>
          </a:prstGeom>
          <a:ln w="12700">
            <a:miter lim="400000"/>
          </a:ln>
        </p:spPr>
      </p:pic>
      <p:sp>
        <p:nvSpPr>
          <p:cNvPr id="90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22866831" y="519224"/>
            <a:ext cx="518350" cy="436016"/>
          </a:xfrm>
          <a:prstGeom prst="rect">
            <a:avLst/>
          </a:prstGeom>
        </p:spPr>
        <p:txBody>
          <a:bodyPr/>
          <a:lstStyle>
            <a:lvl1pPr algn="r">
              <a:lnSpc>
                <a:spcPct val="100000"/>
              </a:lnSpc>
              <a:defRPr sz="1500" b="1" cap="all" spc="214">
                <a:solidFill>
                  <a:srgbClr val="D5D5D5"/>
                </a:solidFill>
                <a:latin typeface="DIN Next LT Pro"/>
                <a:ea typeface="DIN Next LT Pro"/>
                <a:cs typeface="DIN Next LT Pro"/>
                <a:sym typeface="DIN Next LT Pro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016972621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wo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Page"/>
          <p:cNvSpPr txBox="1"/>
          <p:nvPr/>
        </p:nvSpPr>
        <p:spPr>
          <a:xfrm>
            <a:off x="21639371" y="478584"/>
            <a:ext cx="1412122" cy="54706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91438" tIns="91438" rIns="91438" bIns="91438">
            <a:spAutoFit/>
          </a:bodyPr>
          <a:lstStyle>
            <a:lvl1pPr algn="r">
              <a:defRPr sz="1500" b="1" cap="all" spc="214">
                <a:solidFill>
                  <a:srgbClr val="D5D5D5"/>
                </a:solidFill>
                <a:latin typeface="DIN Next LT Pro"/>
                <a:ea typeface="DIN Next LT Pro"/>
                <a:cs typeface="DIN Next LT Pro"/>
                <a:sym typeface="DIN Next LT Pro"/>
              </a:defRPr>
            </a:lvl1pPr>
          </a:lstStyle>
          <a:p>
            <a:r>
              <a:rPr sz="1500" dirty="0"/>
              <a:t>Page   </a:t>
            </a:r>
          </a:p>
        </p:txBody>
      </p:sp>
      <p:sp>
        <p:nvSpPr>
          <p:cNvPr id="88" name="THIS IS YOUR HEADLINE."/>
          <p:cNvSpPr txBox="1">
            <a:spLocks noGrp="1"/>
          </p:cNvSpPr>
          <p:nvPr>
            <p:ph type="body" sz="quarter" idx="14"/>
          </p:nvPr>
        </p:nvSpPr>
        <p:spPr>
          <a:xfrm>
            <a:off x="1309306" y="1076213"/>
            <a:ext cx="20241388" cy="553994"/>
          </a:xfrm>
          <a:prstGeom prst="rect">
            <a:avLst/>
          </a:prstGeom>
        </p:spPr>
        <p:txBody>
          <a:bodyPr lIns="91438" tIns="91438" rIns="91438" bIns="91438">
            <a:spAutoFit/>
          </a:bodyPr>
          <a:lstStyle>
            <a:lvl1pPr>
              <a:lnSpc>
                <a:spcPct val="100000"/>
              </a:lnSpc>
              <a:defRPr b="1" spc="104">
                <a:solidFill>
                  <a:srgbClr val="F1572D"/>
                </a:solidFill>
                <a:latin typeface="Gotham"/>
                <a:ea typeface="Gotham"/>
                <a:cs typeface="Gotham"/>
                <a:sym typeface="Gotham"/>
              </a:defRPr>
            </a:lvl1pPr>
          </a:lstStyle>
          <a:p>
            <a:r>
              <a:t>THIS IS YOUR HEADLINE.</a:t>
            </a:r>
          </a:p>
        </p:txBody>
      </p:sp>
      <p:pic>
        <p:nvPicPr>
          <p:cNvPr id="89" name="Picture 9" descr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80591" y="11570729"/>
            <a:ext cx="21551902" cy="1028702"/>
          </a:xfrm>
          <a:prstGeom prst="rect">
            <a:avLst/>
          </a:prstGeom>
          <a:ln w="12700">
            <a:miter lim="400000"/>
          </a:ln>
        </p:spPr>
      </p:pic>
      <p:sp>
        <p:nvSpPr>
          <p:cNvPr id="90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22866831" y="519224"/>
            <a:ext cx="518350" cy="436016"/>
          </a:xfrm>
          <a:prstGeom prst="rect">
            <a:avLst/>
          </a:prstGeom>
        </p:spPr>
        <p:txBody>
          <a:bodyPr/>
          <a:lstStyle>
            <a:lvl1pPr algn="r">
              <a:lnSpc>
                <a:spcPct val="100000"/>
              </a:lnSpc>
              <a:defRPr sz="1500" b="1" cap="all" spc="214">
                <a:solidFill>
                  <a:srgbClr val="D5D5D5"/>
                </a:solidFill>
                <a:latin typeface="DIN Next LT Pro"/>
                <a:ea typeface="DIN Next LT Pro"/>
                <a:cs typeface="DIN Next LT Pro"/>
                <a:sym typeface="DIN Next LT Pro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28773422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24384000" cy="13716000"/>
          </a:xfrm>
          <a:prstGeom prst="rect">
            <a:avLst/>
          </a:prstGeom>
        </p:spPr>
      </p:pic>
      <p:sp>
        <p:nvSpPr>
          <p:cNvPr id="18" name="Rectangle 24"/>
          <p:cNvSpPr/>
          <p:nvPr userDrawn="1"/>
        </p:nvSpPr>
        <p:spPr>
          <a:xfrm rot="10800000" flipH="1">
            <a:off x="1502231" y="1480456"/>
            <a:ext cx="21379544" cy="10755088"/>
          </a:xfrm>
          <a:custGeom>
            <a:avLst/>
            <a:gdLst>
              <a:gd name="connsiteX0" fmla="*/ 0 w 8017329"/>
              <a:gd name="connsiteY0" fmla="*/ 0 h 4033157"/>
              <a:gd name="connsiteX1" fmla="*/ 8017329 w 8017329"/>
              <a:gd name="connsiteY1" fmla="*/ 0 h 4033157"/>
              <a:gd name="connsiteX2" fmla="*/ 8017329 w 8017329"/>
              <a:gd name="connsiteY2" fmla="*/ 4033157 h 4033157"/>
              <a:gd name="connsiteX3" fmla="*/ 0 w 8017329"/>
              <a:gd name="connsiteY3" fmla="*/ 4033157 h 4033157"/>
              <a:gd name="connsiteX4" fmla="*/ 0 w 8017329"/>
              <a:gd name="connsiteY4" fmla="*/ 0 h 4033157"/>
              <a:gd name="connsiteX0" fmla="*/ 0 w 8017329"/>
              <a:gd name="connsiteY0" fmla="*/ 1 h 4033158"/>
              <a:gd name="connsiteX1" fmla="*/ 3061607 w 8017329"/>
              <a:gd name="connsiteY1" fmla="*/ 0 h 4033158"/>
              <a:gd name="connsiteX2" fmla="*/ 8017329 w 8017329"/>
              <a:gd name="connsiteY2" fmla="*/ 1 h 4033158"/>
              <a:gd name="connsiteX3" fmla="*/ 8017329 w 8017329"/>
              <a:gd name="connsiteY3" fmla="*/ 4033158 h 4033158"/>
              <a:gd name="connsiteX4" fmla="*/ 0 w 8017329"/>
              <a:gd name="connsiteY4" fmla="*/ 4033158 h 4033158"/>
              <a:gd name="connsiteX5" fmla="*/ 0 w 8017329"/>
              <a:gd name="connsiteY5" fmla="*/ 1 h 4033158"/>
              <a:gd name="connsiteX0" fmla="*/ 0 w 8017329"/>
              <a:gd name="connsiteY0" fmla="*/ 1 h 4033158"/>
              <a:gd name="connsiteX1" fmla="*/ 1918607 w 8017329"/>
              <a:gd name="connsiteY1" fmla="*/ 0 h 4033158"/>
              <a:gd name="connsiteX2" fmla="*/ 3061607 w 8017329"/>
              <a:gd name="connsiteY2" fmla="*/ 0 h 4033158"/>
              <a:gd name="connsiteX3" fmla="*/ 8017329 w 8017329"/>
              <a:gd name="connsiteY3" fmla="*/ 1 h 4033158"/>
              <a:gd name="connsiteX4" fmla="*/ 8017329 w 8017329"/>
              <a:gd name="connsiteY4" fmla="*/ 4033158 h 4033158"/>
              <a:gd name="connsiteX5" fmla="*/ 0 w 8017329"/>
              <a:gd name="connsiteY5" fmla="*/ 4033158 h 4033158"/>
              <a:gd name="connsiteX6" fmla="*/ 0 w 8017329"/>
              <a:gd name="connsiteY6" fmla="*/ 1 h 4033158"/>
              <a:gd name="connsiteX0" fmla="*/ 3061607 w 8017329"/>
              <a:gd name="connsiteY0" fmla="*/ 0 h 4033158"/>
              <a:gd name="connsiteX1" fmla="*/ 8017329 w 8017329"/>
              <a:gd name="connsiteY1" fmla="*/ 1 h 4033158"/>
              <a:gd name="connsiteX2" fmla="*/ 8017329 w 8017329"/>
              <a:gd name="connsiteY2" fmla="*/ 4033158 h 4033158"/>
              <a:gd name="connsiteX3" fmla="*/ 0 w 8017329"/>
              <a:gd name="connsiteY3" fmla="*/ 4033158 h 4033158"/>
              <a:gd name="connsiteX4" fmla="*/ 0 w 8017329"/>
              <a:gd name="connsiteY4" fmla="*/ 1 h 4033158"/>
              <a:gd name="connsiteX5" fmla="*/ 2010047 w 8017329"/>
              <a:gd name="connsiteY5" fmla="*/ 91440 h 4033158"/>
              <a:gd name="connsiteX0" fmla="*/ 3141617 w 8097339"/>
              <a:gd name="connsiteY0" fmla="*/ 324939 h 4358097"/>
              <a:gd name="connsiteX1" fmla="*/ 8097339 w 8097339"/>
              <a:gd name="connsiteY1" fmla="*/ 324940 h 4358097"/>
              <a:gd name="connsiteX2" fmla="*/ 8097339 w 8097339"/>
              <a:gd name="connsiteY2" fmla="*/ 4358097 h 4358097"/>
              <a:gd name="connsiteX3" fmla="*/ 80010 w 8097339"/>
              <a:gd name="connsiteY3" fmla="*/ 4358097 h 4358097"/>
              <a:gd name="connsiteX4" fmla="*/ 80010 w 8097339"/>
              <a:gd name="connsiteY4" fmla="*/ 324940 h 4358097"/>
              <a:gd name="connsiteX5" fmla="*/ 0 w 8097339"/>
              <a:gd name="connsiteY5" fmla="*/ 0 h 4358097"/>
              <a:gd name="connsiteX0" fmla="*/ 3141617 w 8097339"/>
              <a:gd name="connsiteY0" fmla="*/ 324939 h 4358097"/>
              <a:gd name="connsiteX1" fmla="*/ 8097339 w 8097339"/>
              <a:gd name="connsiteY1" fmla="*/ 324940 h 4358097"/>
              <a:gd name="connsiteX2" fmla="*/ 8097339 w 8097339"/>
              <a:gd name="connsiteY2" fmla="*/ 4358097 h 4358097"/>
              <a:gd name="connsiteX3" fmla="*/ 80010 w 8097339"/>
              <a:gd name="connsiteY3" fmla="*/ 4358097 h 4358097"/>
              <a:gd name="connsiteX4" fmla="*/ 80010 w 8097339"/>
              <a:gd name="connsiteY4" fmla="*/ 324940 h 4358097"/>
              <a:gd name="connsiteX5" fmla="*/ 0 w 8097339"/>
              <a:gd name="connsiteY5" fmla="*/ 0 h 4358097"/>
              <a:gd name="connsiteX0" fmla="*/ 3141617 w 8097339"/>
              <a:gd name="connsiteY0" fmla="*/ 324939 h 4358097"/>
              <a:gd name="connsiteX1" fmla="*/ 8097339 w 8097339"/>
              <a:gd name="connsiteY1" fmla="*/ 324940 h 4358097"/>
              <a:gd name="connsiteX2" fmla="*/ 8097339 w 8097339"/>
              <a:gd name="connsiteY2" fmla="*/ 4358097 h 4358097"/>
              <a:gd name="connsiteX3" fmla="*/ 80010 w 8097339"/>
              <a:gd name="connsiteY3" fmla="*/ 4358097 h 4358097"/>
              <a:gd name="connsiteX4" fmla="*/ 80010 w 8097339"/>
              <a:gd name="connsiteY4" fmla="*/ 324940 h 4358097"/>
              <a:gd name="connsiteX5" fmla="*/ 0 w 8097339"/>
              <a:gd name="connsiteY5" fmla="*/ 0 h 4358097"/>
              <a:gd name="connsiteX0" fmla="*/ 3061607 w 8017329"/>
              <a:gd name="connsiteY0" fmla="*/ 0 h 4033158"/>
              <a:gd name="connsiteX1" fmla="*/ 8017329 w 8017329"/>
              <a:gd name="connsiteY1" fmla="*/ 1 h 4033158"/>
              <a:gd name="connsiteX2" fmla="*/ 8017329 w 8017329"/>
              <a:gd name="connsiteY2" fmla="*/ 4033158 h 4033158"/>
              <a:gd name="connsiteX3" fmla="*/ 0 w 8017329"/>
              <a:gd name="connsiteY3" fmla="*/ 4033158 h 4033158"/>
              <a:gd name="connsiteX4" fmla="*/ 0 w 8017329"/>
              <a:gd name="connsiteY4" fmla="*/ 1 h 4033158"/>
              <a:gd name="connsiteX0" fmla="*/ 2571749 w 8017329"/>
              <a:gd name="connsiteY0" fmla="*/ 0 h 4033158"/>
              <a:gd name="connsiteX1" fmla="*/ 8017329 w 8017329"/>
              <a:gd name="connsiteY1" fmla="*/ 1 h 4033158"/>
              <a:gd name="connsiteX2" fmla="*/ 8017329 w 8017329"/>
              <a:gd name="connsiteY2" fmla="*/ 4033158 h 4033158"/>
              <a:gd name="connsiteX3" fmla="*/ 0 w 8017329"/>
              <a:gd name="connsiteY3" fmla="*/ 4033158 h 4033158"/>
              <a:gd name="connsiteX4" fmla="*/ 0 w 8017329"/>
              <a:gd name="connsiteY4" fmla="*/ 1 h 4033158"/>
              <a:gd name="connsiteX0" fmla="*/ 2239240 w 8017329"/>
              <a:gd name="connsiteY0" fmla="*/ 0 h 4033158"/>
              <a:gd name="connsiteX1" fmla="*/ 8017329 w 8017329"/>
              <a:gd name="connsiteY1" fmla="*/ 1 h 4033158"/>
              <a:gd name="connsiteX2" fmla="*/ 8017329 w 8017329"/>
              <a:gd name="connsiteY2" fmla="*/ 4033158 h 4033158"/>
              <a:gd name="connsiteX3" fmla="*/ 0 w 8017329"/>
              <a:gd name="connsiteY3" fmla="*/ 4033158 h 4033158"/>
              <a:gd name="connsiteX4" fmla="*/ 0 w 8017329"/>
              <a:gd name="connsiteY4" fmla="*/ 1 h 4033158"/>
              <a:gd name="connsiteX0" fmla="*/ 2239240 w 8017329"/>
              <a:gd name="connsiteY0" fmla="*/ 0 h 4033158"/>
              <a:gd name="connsiteX1" fmla="*/ 8017329 w 8017329"/>
              <a:gd name="connsiteY1" fmla="*/ 1 h 4033158"/>
              <a:gd name="connsiteX2" fmla="*/ 8017329 w 8017329"/>
              <a:gd name="connsiteY2" fmla="*/ 4033158 h 4033158"/>
              <a:gd name="connsiteX3" fmla="*/ 0 w 8017329"/>
              <a:gd name="connsiteY3" fmla="*/ 4033158 h 4033158"/>
              <a:gd name="connsiteX4" fmla="*/ 0 w 8017329"/>
              <a:gd name="connsiteY4" fmla="*/ 308759 h 40331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17329" h="4033158">
                <a:moveTo>
                  <a:pt x="2239240" y="0"/>
                </a:moveTo>
                <a:lnTo>
                  <a:pt x="8017329" y="1"/>
                </a:lnTo>
                <a:lnTo>
                  <a:pt x="8017329" y="4033158"/>
                </a:lnTo>
                <a:lnTo>
                  <a:pt x="0" y="4033158"/>
                </a:lnTo>
                <a:lnTo>
                  <a:pt x="0" y="308759"/>
                </a:lnTo>
              </a:path>
            </a:pathLst>
          </a:custGeom>
          <a:noFill/>
          <a:ln w="6350">
            <a:solidFill>
              <a:srgbClr val="5F5F5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800" dirty="0"/>
          </a:p>
        </p:txBody>
      </p:sp>
      <p:sp>
        <p:nvSpPr>
          <p:cNvPr id="19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6899792" y="7708010"/>
            <a:ext cx="10584421" cy="867645"/>
          </a:xfrm>
          <a:noFill/>
        </p:spPr>
        <p:txBody>
          <a:bodyPr anchor="b"/>
          <a:lstStyle>
            <a:lvl1pPr marL="0" indent="0" algn="ctr">
              <a:buNone/>
              <a:defRPr sz="3200" b="1" spc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itle 1"/>
          <p:cNvSpPr>
            <a:spLocks noGrp="1"/>
          </p:cNvSpPr>
          <p:nvPr>
            <p:ph type="ctrTitle" hasCustomPrompt="1"/>
          </p:nvPr>
        </p:nvSpPr>
        <p:spPr>
          <a:xfrm>
            <a:off x="5246917" y="4728088"/>
            <a:ext cx="13890171" cy="1387045"/>
          </a:xfrm>
        </p:spPr>
        <p:txBody>
          <a:bodyPr wrap="square" anchor="b" anchorCtr="0">
            <a:spAutoFit/>
          </a:bodyPr>
          <a:lstStyle>
            <a:lvl1pPr algn="ctr">
              <a:lnSpc>
                <a:spcPts val="10667"/>
              </a:lnSpc>
              <a:defRPr sz="9333" b="1" spc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22" name="Subtitle 2"/>
          <p:cNvSpPr>
            <a:spLocks noGrp="1"/>
          </p:cNvSpPr>
          <p:nvPr>
            <p:ph type="subTitle" idx="1"/>
          </p:nvPr>
        </p:nvSpPr>
        <p:spPr>
          <a:xfrm>
            <a:off x="4553655" y="6239093"/>
            <a:ext cx="15276696" cy="955184"/>
          </a:xfrm>
        </p:spPr>
        <p:txBody>
          <a:bodyPr>
            <a:noAutofit/>
          </a:bodyPr>
          <a:lstStyle>
            <a:lvl1pPr marL="0" indent="0" algn="ctr">
              <a:buNone/>
              <a:defRPr sz="6667" spc="0">
                <a:solidFill>
                  <a:schemeClr val="tx1"/>
                </a:solidFill>
              </a:defRPr>
            </a:lvl1pPr>
            <a:lvl2pPr marL="1219186" indent="0" algn="ctr">
              <a:buNone/>
              <a:defRPr sz="5333"/>
            </a:lvl2pPr>
            <a:lvl3pPr marL="2438372" indent="0" algn="ctr">
              <a:buNone/>
              <a:defRPr sz="4800"/>
            </a:lvl3pPr>
            <a:lvl4pPr marL="3657555" indent="0" algn="ctr">
              <a:buNone/>
              <a:defRPr sz="4267"/>
            </a:lvl4pPr>
            <a:lvl5pPr marL="4876738" indent="0" algn="ctr">
              <a:buNone/>
              <a:defRPr sz="4267"/>
            </a:lvl5pPr>
            <a:lvl6pPr marL="6095924" indent="0" algn="ctr">
              <a:buNone/>
              <a:defRPr sz="4267"/>
            </a:lvl6pPr>
            <a:lvl7pPr marL="7315110" indent="0" algn="ctr">
              <a:buNone/>
              <a:defRPr sz="4267"/>
            </a:lvl7pPr>
            <a:lvl8pPr marL="8534293" indent="0" algn="ctr">
              <a:buNone/>
              <a:defRPr sz="4267"/>
            </a:lvl8pPr>
            <a:lvl9pPr marL="9753479" indent="0" algn="ctr">
              <a:buNone/>
              <a:defRPr sz="4267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24" name="Picture 23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89404" y="11731292"/>
            <a:ext cx="5650675" cy="6047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241825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24384000" cy="13716000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7" y="4466776"/>
            <a:ext cx="12866915" cy="4405083"/>
          </a:xfrm>
        </p:spPr>
        <p:txBody>
          <a:bodyPr anchor="ctr"/>
          <a:lstStyle>
            <a:lvl1pPr marL="0" indent="0">
              <a:buNone/>
              <a:defRPr sz="6667" b="1" spc="800">
                <a:solidFill>
                  <a:schemeClr val="bg1"/>
                </a:solidFill>
              </a:defRPr>
            </a:lvl1pPr>
            <a:lvl2pPr marL="1219186" indent="0">
              <a:buNone/>
              <a:defRPr>
                <a:solidFill>
                  <a:schemeClr val="bg1"/>
                </a:solidFill>
              </a:defRPr>
            </a:lvl2pPr>
            <a:lvl3pPr marL="2438372" indent="0">
              <a:buNone/>
              <a:defRPr>
                <a:solidFill>
                  <a:schemeClr val="bg1"/>
                </a:solidFill>
              </a:defRPr>
            </a:lvl3pPr>
            <a:lvl4pPr marL="3657555" indent="0">
              <a:buNone/>
              <a:defRPr>
                <a:solidFill>
                  <a:schemeClr val="bg1"/>
                </a:solidFill>
              </a:defRPr>
            </a:lvl4pPr>
            <a:lvl5pPr marL="487673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3163112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24384000" cy="13716000"/>
          </a:xfrm>
          <a:prstGeom prst="rect">
            <a:avLst/>
          </a:prstGeom>
        </p:spPr>
      </p:pic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7" y="4466776"/>
            <a:ext cx="12866915" cy="4405083"/>
          </a:xfrm>
        </p:spPr>
        <p:txBody>
          <a:bodyPr anchor="ctr"/>
          <a:lstStyle>
            <a:lvl1pPr marL="0" indent="0">
              <a:buNone/>
              <a:defRPr sz="6667" b="1" spc="800">
                <a:solidFill>
                  <a:schemeClr val="bg1"/>
                </a:solidFill>
              </a:defRPr>
            </a:lvl1pPr>
            <a:lvl2pPr marL="1219186" indent="0">
              <a:buNone/>
              <a:defRPr>
                <a:solidFill>
                  <a:schemeClr val="bg1"/>
                </a:solidFill>
              </a:defRPr>
            </a:lvl2pPr>
            <a:lvl3pPr marL="2438372" indent="0">
              <a:buNone/>
              <a:defRPr>
                <a:solidFill>
                  <a:schemeClr val="bg1"/>
                </a:solidFill>
              </a:defRPr>
            </a:lvl3pPr>
            <a:lvl4pPr marL="3657555" indent="0">
              <a:buNone/>
              <a:defRPr>
                <a:solidFill>
                  <a:schemeClr val="bg1"/>
                </a:solidFill>
              </a:defRPr>
            </a:lvl4pPr>
            <a:lvl5pPr marL="487673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1176271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4239" y="4239"/>
          <a:ext cx="4232" cy="423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4239" y="4239"/>
                        <a:ext cx="4232" cy="423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1161144" y="1139384"/>
            <a:ext cx="21913003" cy="1037765"/>
          </a:xfrm>
        </p:spPr>
        <p:txBody>
          <a:bodyPr/>
          <a:lstStyle>
            <a:lvl1pPr>
              <a:defRPr sz="6667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1157248" y="2393207"/>
            <a:ext cx="21873355" cy="10253981"/>
          </a:xfrm>
        </p:spPr>
        <p:txBody>
          <a:bodyPr vert="horz" lIns="0" tIns="0" rIns="0" bIns="0" rtlCol="0">
            <a:noAutofit/>
          </a:bodyPr>
          <a:lstStyle>
            <a:lvl1pPr marL="457195" indent="-457195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Font typeface="Arial" panose="020B0604020202020204" pitchFamily="34" charset="0"/>
              <a:buChar char="•"/>
              <a:defRPr lang="en-US" sz="2933" dirty="0" smtClean="0"/>
            </a:lvl1pPr>
            <a:lvl2pPr marL="1828778" indent="-609592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FontTx/>
              <a:buChar char="−"/>
              <a:defRPr lang="en-US" sz="2933" dirty="0" smtClean="0"/>
            </a:lvl2pPr>
            <a:lvl3pPr marL="3047963" indent="-609592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Font typeface="Courier New" panose="02070309020205020404" pitchFamily="49" charset="0"/>
              <a:buChar char="o"/>
              <a:defRPr lang="en-US" sz="2933" dirty="0" smtClean="0"/>
            </a:lvl3pPr>
            <a:lvl4pPr marL="4267147" indent="-609592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Font typeface="Wingdings" panose="05000000000000000000" pitchFamily="2" charset="2"/>
              <a:buChar char="§"/>
              <a:defRPr lang="en-US" sz="2933" dirty="0" smtClean="0"/>
            </a:lvl4pPr>
            <a:lvl5pPr marL="5486330" indent="-609592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Font typeface="Arial" panose="020B0604020202020204" pitchFamily="34" charset="0"/>
              <a:buChar char="•"/>
              <a:defRPr lang="en-US" sz="2933" dirty="0"/>
            </a:lvl5pPr>
          </a:lstStyle>
          <a:p>
            <a:pPr lvl="0"/>
            <a:r>
              <a:rPr lang="en-US" dirty="0"/>
              <a:t>Text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9220604" y="12972148"/>
            <a:ext cx="3853544" cy="5745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133" b="0">
                <a:solidFill>
                  <a:schemeClr val="tx1"/>
                </a:solidFill>
              </a:defRPr>
            </a:lvl1pPr>
          </a:lstStyle>
          <a:p>
            <a:fld id="{F3B798F2-66A1-4CD0-B890-C77A192E30D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294024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6"/>
          <p:cNvSpPr>
            <a:spLocks noGrp="1"/>
          </p:cNvSpPr>
          <p:nvPr>
            <p:ph type="title"/>
          </p:nvPr>
        </p:nvSpPr>
        <p:spPr>
          <a:xfrm>
            <a:off x="1161144" y="1139387"/>
            <a:ext cx="21913003" cy="1037765"/>
          </a:xfrm>
        </p:spPr>
        <p:txBody>
          <a:bodyPr/>
          <a:lstStyle>
            <a:lvl1pPr>
              <a:defRPr sz="6667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0691019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24384000" cy="13716000"/>
          </a:xfrm>
          <a:prstGeom prst="rect">
            <a:avLst/>
          </a:prstGeom>
        </p:spPr>
      </p:pic>
      <p:sp>
        <p:nvSpPr>
          <p:cNvPr id="18" name="Rectangle 24"/>
          <p:cNvSpPr/>
          <p:nvPr userDrawn="1"/>
        </p:nvSpPr>
        <p:spPr>
          <a:xfrm rot="10800000" flipH="1">
            <a:off x="1502231" y="1480456"/>
            <a:ext cx="21379544" cy="10755088"/>
          </a:xfrm>
          <a:custGeom>
            <a:avLst/>
            <a:gdLst>
              <a:gd name="connsiteX0" fmla="*/ 0 w 8017329"/>
              <a:gd name="connsiteY0" fmla="*/ 0 h 4033157"/>
              <a:gd name="connsiteX1" fmla="*/ 8017329 w 8017329"/>
              <a:gd name="connsiteY1" fmla="*/ 0 h 4033157"/>
              <a:gd name="connsiteX2" fmla="*/ 8017329 w 8017329"/>
              <a:gd name="connsiteY2" fmla="*/ 4033157 h 4033157"/>
              <a:gd name="connsiteX3" fmla="*/ 0 w 8017329"/>
              <a:gd name="connsiteY3" fmla="*/ 4033157 h 4033157"/>
              <a:gd name="connsiteX4" fmla="*/ 0 w 8017329"/>
              <a:gd name="connsiteY4" fmla="*/ 0 h 4033157"/>
              <a:gd name="connsiteX0" fmla="*/ 0 w 8017329"/>
              <a:gd name="connsiteY0" fmla="*/ 1 h 4033158"/>
              <a:gd name="connsiteX1" fmla="*/ 3061607 w 8017329"/>
              <a:gd name="connsiteY1" fmla="*/ 0 h 4033158"/>
              <a:gd name="connsiteX2" fmla="*/ 8017329 w 8017329"/>
              <a:gd name="connsiteY2" fmla="*/ 1 h 4033158"/>
              <a:gd name="connsiteX3" fmla="*/ 8017329 w 8017329"/>
              <a:gd name="connsiteY3" fmla="*/ 4033158 h 4033158"/>
              <a:gd name="connsiteX4" fmla="*/ 0 w 8017329"/>
              <a:gd name="connsiteY4" fmla="*/ 4033158 h 4033158"/>
              <a:gd name="connsiteX5" fmla="*/ 0 w 8017329"/>
              <a:gd name="connsiteY5" fmla="*/ 1 h 4033158"/>
              <a:gd name="connsiteX0" fmla="*/ 0 w 8017329"/>
              <a:gd name="connsiteY0" fmla="*/ 1 h 4033158"/>
              <a:gd name="connsiteX1" fmla="*/ 1918607 w 8017329"/>
              <a:gd name="connsiteY1" fmla="*/ 0 h 4033158"/>
              <a:gd name="connsiteX2" fmla="*/ 3061607 w 8017329"/>
              <a:gd name="connsiteY2" fmla="*/ 0 h 4033158"/>
              <a:gd name="connsiteX3" fmla="*/ 8017329 w 8017329"/>
              <a:gd name="connsiteY3" fmla="*/ 1 h 4033158"/>
              <a:gd name="connsiteX4" fmla="*/ 8017329 w 8017329"/>
              <a:gd name="connsiteY4" fmla="*/ 4033158 h 4033158"/>
              <a:gd name="connsiteX5" fmla="*/ 0 w 8017329"/>
              <a:gd name="connsiteY5" fmla="*/ 4033158 h 4033158"/>
              <a:gd name="connsiteX6" fmla="*/ 0 w 8017329"/>
              <a:gd name="connsiteY6" fmla="*/ 1 h 4033158"/>
              <a:gd name="connsiteX0" fmla="*/ 3061607 w 8017329"/>
              <a:gd name="connsiteY0" fmla="*/ 0 h 4033158"/>
              <a:gd name="connsiteX1" fmla="*/ 8017329 w 8017329"/>
              <a:gd name="connsiteY1" fmla="*/ 1 h 4033158"/>
              <a:gd name="connsiteX2" fmla="*/ 8017329 w 8017329"/>
              <a:gd name="connsiteY2" fmla="*/ 4033158 h 4033158"/>
              <a:gd name="connsiteX3" fmla="*/ 0 w 8017329"/>
              <a:gd name="connsiteY3" fmla="*/ 4033158 h 4033158"/>
              <a:gd name="connsiteX4" fmla="*/ 0 w 8017329"/>
              <a:gd name="connsiteY4" fmla="*/ 1 h 4033158"/>
              <a:gd name="connsiteX5" fmla="*/ 2010047 w 8017329"/>
              <a:gd name="connsiteY5" fmla="*/ 91440 h 4033158"/>
              <a:gd name="connsiteX0" fmla="*/ 3141617 w 8097339"/>
              <a:gd name="connsiteY0" fmla="*/ 324939 h 4358097"/>
              <a:gd name="connsiteX1" fmla="*/ 8097339 w 8097339"/>
              <a:gd name="connsiteY1" fmla="*/ 324940 h 4358097"/>
              <a:gd name="connsiteX2" fmla="*/ 8097339 w 8097339"/>
              <a:gd name="connsiteY2" fmla="*/ 4358097 h 4358097"/>
              <a:gd name="connsiteX3" fmla="*/ 80010 w 8097339"/>
              <a:gd name="connsiteY3" fmla="*/ 4358097 h 4358097"/>
              <a:gd name="connsiteX4" fmla="*/ 80010 w 8097339"/>
              <a:gd name="connsiteY4" fmla="*/ 324940 h 4358097"/>
              <a:gd name="connsiteX5" fmla="*/ 0 w 8097339"/>
              <a:gd name="connsiteY5" fmla="*/ 0 h 4358097"/>
              <a:gd name="connsiteX0" fmla="*/ 3141617 w 8097339"/>
              <a:gd name="connsiteY0" fmla="*/ 324939 h 4358097"/>
              <a:gd name="connsiteX1" fmla="*/ 8097339 w 8097339"/>
              <a:gd name="connsiteY1" fmla="*/ 324940 h 4358097"/>
              <a:gd name="connsiteX2" fmla="*/ 8097339 w 8097339"/>
              <a:gd name="connsiteY2" fmla="*/ 4358097 h 4358097"/>
              <a:gd name="connsiteX3" fmla="*/ 80010 w 8097339"/>
              <a:gd name="connsiteY3" fmla="*/ 4358097 h 4358097"/>
              <a:gd name="connsiteX4" fmla="*/ 80010 w 8097339"/>
              <a:gd name="connsiteY4" fmla="*/ 324940 h 4358097"/>
              <a:gd name="connsiteX5" fmla="*/ 0 w 8097339"/>
              <a:gd name="connsiteY5" fmla="*/ 0 h 4358097"/>
              <a:gd name="connsiteX0" fmla="*/ 3141617 w 8097339"/>
              <a:gd name="connsiteY0" fmla="*/ 324939 h 4358097"/>
              <a:gd name="connsiteX1" fmla="*/ 8097339 w 8097339"/>
              <a:gd name="connsiteY1" fmla="*/ 324940 h 4358097"/>
              <a:gd name="connsiteX2" fmla="*/ 8097339 w 8097339"/>
              <a:gd name="connsiteY2" fmla="*/ 4358097 h 4358097"/>
              <a:gd name="connsiteX3" fmla="*/ 80010 w 8097339"/>
              <a:gd name="connsiteY3" fmla="*/ 4358097 h 4358097"/>
              <a:gd name="connsiteX4" fmla="*/ 80010 w 8097339"/>
              <a:gd name="connsiteY4" fmla="*/ 324940 h 4358097"/>
              <a:gd name="connsiteX5" fmla="*/ 0 w 8097339"/>
              <a:gd name="connsiteY5" fmla="*/ 0 h 4358097"/>
              <a:gd name="connsiteX0" fmla="*/ 3061607 w 8017329"/>
              <a:gd name="connsiteY0" fmla="*/ 0 h 4033158"/>
              <a:gd name="connsiteX1" fmla="*/ 8017329 w 8017329"/>
              <a:gd name="connsiteY1" fmla="*/ 1 h 4033158"/>
              <a:gd name="connsiteX2" fmla="*/ 8017329 w 8017329"/>
              <a:gd name="connsiteY2" fmla="*/ 4033158 h 4033158"/>
              <a:gd name="connsiteX3" fmla="*/ 0 w 8017329"/>
              <a:gd name="connsiteY3" fmla="*/ 4033158 h 4033158"/>
              <a:gd name="connsiteX4" fmla="*/ 0 w 8017329"/>
              <a:gd name="connsiteY4" fmla="*/ 1 h 4033158"/>
              <a:gd name="connsiteX0" fmla="*/ 2571749 w 8017329"/>
              <a:gd name="connsiteY0" fmla="*/ 0 h 4033158"/>
              <a:gd name="connsiteX1" fmla="*/ 8017329 w 8017329"/>
              <a:gd name="connsiteY1" fmla="*/ 1 h 4033158"/>
              <a:gd name="connsiteX2" fmla="*/ 8017329 w 8017329"/>
              <a:gd name="connsiteY2" fmla="*/ 4033158 h 4033158"/>
              <a:gd name="connsiteX3" fmla="*/ 0 w 8017329"/>
              <a:gd name="connsiteY3" fmla="*/ 4033158 h 4033158"/>
              <a:gd name="connsiteX4" fmla="*/ 0 w 8017329"/>
              <a:gd name="connsiteY4" fmla="*/ 1 h 4033158"/>
              <a:gd name="connsiteX0" fmla="*/ 2239240 w 8017329"/>
              <a:gd name="connsiteY0" fmla="*/ 0 h 4033158"/>
              <a:gd name="connsiteX1" fmla="*/ 8017329 w 8017329"/>
              <a:gd name="connsiteY1" fmla="*/ 1 h 4033158"/>
              <a:gd name="connsiteX2" fmla="*/ 8017329 w 8017329"/>
              <a:gd name="connsiteY2" fmla="*/ 4033158 h 4033158"/>
              <a:gd name="connsiteX3" fmla="*/ 0 w 8017329"/>
              <a:gd name="connsiteY3" fmla="*/ 4033158 h 4033158"/>
              <a:gd name="connsiteX4" fmla="*/ 0 w 8017329"/>
              <a:gd name="connsiteY4" fmla="*/ 1 h 4033158"/>
              <a:gd name="connsiteX0" fmla="*/ 2239240 w 8017329"/>
              <a:gd name="connsiteY0" fmla="*/ 0 h 4033158"/>
              <a:gd name="connsiteX1" fmla="*/ 8017329 w 8017329"/>
              <a:gd name="connsiteY1" fmla="*/ 1 h 4033158"/>
              <a:gd name="connsiteX2" fmla="*/ 8017329 w 8017329"/>
              <a:gd name="connsiteY2" fmla="*/ 4033158 h 4033158"/>
              <a:gd name="connsiteX3" fmla="*/ 0 w 8017329"/>
              <a:gd name="connsiteY3" fmla="*/ 4033158 h 4033158"/>
              <a:gd name="connsiteX4" fmla="*/ 0 w 8017329"/>
              <a:gd name="connsiteY4" fmla="*/ 308759 h 40331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17329" h="4033158">
                <a:moveTo>
                  <a:pt x="2239240" y="0"/>
                </a:moveTo>
                <a:lnTo>
                  <a:pt x="8017329" y="1"/>
                </a:lnTo>
                <a:lnTo>
                  <a:pt x="8017329" y="4033158"/>
                </a:lnTo>
                <a:lnTo>
                  <a:pt x="0" y="4033158"/>
                </a:lnTo>
                <a:lnTo>
                  <a:pt x="0" y="308759"/>
                </a:lnTo>
              </a:path>
            </a:pathLst>
          </a:custGeom>
          <a:noFill/>
          <a:ln w="6350">
            <a:solidFill>
              <a:srgbClr val="5F5F5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800" dirty="0"/>
          </a:p>
        </p:txBody>
      </p:sp>
      <p:sp>
        <p:nvSpPr>
          <p:cNvPr id="19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6899792" y="7708010"/>
            <a:ext cx="10584421" cy="867645"/>
          </a:xfrm>
          <a:noFill/>
        </p:spPr>
        <p:txBody>
          <a:bodyPr anchor="b"/>
          <a:lstStyle>
            <a:lvl1pPr marL="0" indent="0" algn="ctr">
              <a:buNone/>
              <a:defRPr sz="3200" b="1" spc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itle 1"/>
          <p:cNvSpPr>
            <a:spLocks noGrp="1"/>
          </p:cNvSpPr>
          <p:nvPr>
            <p:ph type="ctrTitle" hasCustomPrompt="1"/>
          </p:nvPr>
        </p:nvSpPr>
        <p:spPr>
          <a:xfrm>
            <a:off x="5246917" y="4728088"/>
            <a:ext cx="13890171" cy="1387045"/>
          </a:xfrm>
        </p:spPr>
        <p:txBody>
          <a:bodyPr wrap="square" anchor="b" anchorCtr="0">
            <a:spAutoFit/>
          </a:bodyPr>
          <a:lstStyle>
            <a:lvl1pPr algn="ctr">
              <a:lnSpc>
                <a:spcPts val="10667"/>
              </a:lnSpc>
              <a:defRPr sz="9333" b="1" spc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22" name="Subtitle 2"/>
          <p:cNvSpPr>
            <a:spLocks noGrp="1"/>
          </p:cNvSpPr>
          <p:nvPr>
            <p:ph type="subTitle" idx="1"/>
          </p:nvPr>
        </p:nvSpPr>
        <p:spPr>
          <a:xfrm>
            <a:off x="4553655" y="6239093"/>
            <a:ext cx="15276696" cy="955184"/>
          </a:xfrm>
        </p:spPr>
        <p:txBody>
          <a:bodyPr>
            <a:noAutofit/>
          </a:bodyPr>
          <a:lstStyle>
            <a:lvl1pPr marL="0" indent="0" algn="ctr">
              <a:buNone/>
              <a:defRPr sz="6667" spc="0">
                <a:solidFill>
                  <a:schemeClr val="tx1"/>
                </a:solidFill>
              </a:defRPr>
            </a:lvl1pPr>
            <a:lvl2pPr marL="1219186" indent="0" algn="ctr">
              <a:buNone/>
              <a:defRPr sz="5333"/>
            </a:lvl2pPr>
            <a:lvl3pPr marL="2438372" indent="0" algn="ctr">
              <a:buNone/>
              <a:defRPr sz="4800"/>
            </a:lvl3pPr>
            <a:lvl4pPr marL="3657555" indent="0" algn="ctr">
              <a:buNone/>
              <a:defRPr sz="4267"/>
            </a:lvl4pPr>
            <a:lvl5pPr marL="4876738" indent="0" algn="ctr">
              <a:buNone/>
              <a:defRPr sz="4267"/>
            </a:lvl5pPr>
            <a:lvl6pPr marL="6095924" indent="0" algn="ctr">
              <a:buNone/>
              <a:defRPr sz="4267"/>
            </a:lvl6pPr>
            <a:lvl7pPr marL="7315110" indent="0" algn="ctr">
              <a:buNone/>
              <a:defRPr sz="4267"/>
            </a:lvl7pPr>
            <a:lvl8pPr marL="8534293" indent="0" algn="ctr">
              <a:buNone/>
              <a:defRPr sz="4267"/>
            </a:lvl8pPr>
            <a:lvl9pPr marL="9753479" indent="0" algn="ctr">
              <a:buNone/>
              <a:defRPr sz="4267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24" name="Picture 23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89404" y="11731292"/>
            <a:ext cx="5650675" cy="6047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1216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ondary Setup Page">
    <p:bg>
      <p:bgPr>
        <a:solidFill>
          <a:srgbClr val="F0572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HIS IS YOUR TITLE PAGE."/>
          <p:cNvSpPr txBox="1">
            <a:spLocks noGrp="1"/>
          </p:cNvSpPr>
          <p:nvPr>
            <p:ph type="body" sz="quarter" idx="15" hasCustomPrompt="1"/>
          </p:nvPr>
        </p:nvSpPr>
        <p:spPr>
          <a:xfrm>
            <a:off x="1501576" y="4429012"/>
            <a:ext cx="17326752" cy="2179054"/>
          </a:xfrm>
          <a:prstGeom prst="rect">
            <a:avLst/>
          </a:prstGeom>
        </p:spPr>
        <p:txBody>
          <a:bodyPr wrap="square" lIns="91438" tIns="91438" rIns="91438" bIns="91438">
            <a:spAutoFit/>
          </a:bodyPr>
          <a:lstStyle>
            <a:lvl1pPr>
              <a:lnSpc>
                <a:spcPct val="90000"/>
              </a:lnSpc>
              <a:defRPr sz="7200" b="0" i="0" spc="180" baseline="0">
                <a:solidFill>
                  <a:srgbClr val="FFFFFF"/>
                </a:solidFill>
                <a:latin typeface="Arial Regular"/>
                <a:ea typeface="Arial Regular"/>
                <a:cs typeface="Arial" charset="0"/>
                <a:sym typeface="Gotham"/>
              </a:defRPr>
            </a:lvl1pPr>
          </a:lstStyle>
          <a:p>
            <a:r>
              <a:rPr lang="en-US" dirty="0"/>
              <a:t>THIS IS YOUR SECONDARY SETUP PAGE. USE FOR BREAKS / TITLES.</a:t>
            </a:r>
            <a:endParaRPr dirty="0"/>
          </a:p>
        </p:txBody>
      </p:sp>
      <p:pic>
        <p:nvPicPr>
          <p:cNvPr id="11" name="Picture 7" descr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7660" y="12095455"/>
            <a:ext cx="22197336" cy="1048430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019595499"/>
      </p:ext>
    </p:extLst>
  </p:cSld>
  <p:clrMapOvr>
    <a:masterClrMapping/>
  </p:clrMapOvr>
  <p:transition spd="med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24384000" cy="13716000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7" y="4466776"/>
            <a:ext cx="12866915" cy="4405083"/>
          </a:xfrm>
        </p:spPr>
        <p:txBody>
          <a:bodyPr anchor="ctr"/>
          <a:lstStyle>
            <a:lvl1pPr marL="0" indent="0">
              <a:buNone/>
              <a:defRPr sz="6667" b="1" spc="800">
                <a:solidFill>
                  <a:schemeClr val="bg1"/>
                </a:solidFill>
              </a:defRPr>
            </a:lvl1pPr>
            <a:lvl2pPr marL="1219186" indent="0">
              <a:buNone/>
              <a:defRPr>
                <a:solidFill>
                  <a:schemeClr val="bg1"/>
                </a:solidFill>
              </a:defRPr>
            </a:lvl2pPr>
            <a:lvl3pPr marL="2438372" indent="0">
              <a:buNone/>
              <a:defRPr>
                <a:solidFill>
                  <a:schemeClr val="bg1"/>
                </a:solidFill>
              </a:defRPr>
            </a:lvl3pPr>
            <a:lvl4pPr marL="3657555" indent="0">
              <a:buNone/>
              <a:defRPr>
                <a:solidFill>
                  <a:schemeClr val="bg1"/>
                </a:solidFill>
              </a:defRPr>
            </a:lvl4pPr>
            <a:lvl5pPr marL="487673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5141619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24384000" cy="13716000"/>
          </a:xfrm>
          <a:prstGeom prst="rect">
            <a:avLst/>
          </a:prstGeom>
        </p:spPr>
      </p:pic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7" y="4466776"/>
            <a:ext cx="12866915" cy="4405083"/>
          </a:xfrm>
        </p:spPr>
        <p:txBody>
          <a:bodyPr anchor="ctr"/>
          <a:lstStyle>
            <a:lvl1pPr marL="0" indent="0">
              <a:buNone/>
              <a:defRPr sz="6667" b="1" spc="800">
                <a:solidFill>
                  <a:schemeClr val="bg1"/>
                </a:solidFill>
              </a:defRPr>
            </a:lvl1pPr>
            <a:lvl2pPr marL="1219186" indent="0">
              <a:buNone/>
              <a:defRPr>
                <a:solidFill>
                  <a:schemeClr val="bg1"/>
                </a:solidFill>
              </a:defRPr>
            </a:lvl2pPr>
            <a:lvl3pPr marL="2438372" indent="0">
              <a:buNone/>
              <a:defRPr>
                <a:solidFill>
                  <a:schemeClr val="bg1"/>
                </a:solidFill>
              </a:defRPr>
            </a:lvl3pPr>
            <a:lvl4pPr marL="3657555" indent="0">
              <a:buNone/>
              <a:defRPr>
                <a:solidFill>
                  <a:schemeClr val="bg1"/>
                </a:solidFill>
              </a:defRPr>
            </a:lvl4pPr>
            <a:lvl5pPr marL="487673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0106991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4239" y="4239"/>
          <a:ext cx="4232" cy="423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4239" y="4239"/>
                        <a:ext cx="4232" cy="423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1161144" y="1139384"/>
            <a:ext cx="21913003" cy="1037765"/>
          </a:xfrm>
        </p:spPr>
        <p:txBody>
          <a:bodyPr/>
          <a:lstStyle>
            <a:lvl1pPr>
              <a:defRPr sz="6667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1157248" y="2393207"/>
            <a:ext cx="21873355" cy="10253981"/>
          </a:xfrm>
        </p:spPr>
        <p:txBody>
          <a:bodyPr vert="horz" lIns="0" tIns="0" rIns="0" bIns="0" rtlCol="0">
            <a:noAutofit/>
          </a:bodyPr>
          <a:lstStyle>
            <a:lvl1pPr marL="457195" indent="-457195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Font typeface="Arial" panose="020B0604020202020204" pitchFamily="34" charset="0"/>
              <a:buChar char="•"/>
              <a:defRPr lang="en-US" sz="2933" dirty="0" smtClean="0"/>
            </a:lvl1pPr>
            <a:lvl2pPr marL="1828778" indent="-609592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FontTx/>
              <a:buChar char="−"/>
              <a:defRPr lang="en-US" sz="2933" dirty="0" smtClean="0"/>
            </a:lvl2pPr>
            <a:lvl3pPr marL="3047963" indent="-609592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Font typeface="Courier New" panose="02070309020205020404" pitchFamily="49" charset="0"/>
              <a:buChar char="o"/>
              <a:defRPr lang="en-US" sz="2933" dirty="0" smtClean="0"/>
            </a:lvl3pPr>
            <a:lvl4pPr marL="4267147" indent="-609592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Font typeface="Wingdings" panose="05000000000000000000" pitchFamily="2" charset="2"/>
              <a:buChar char="§"/>
              <a:defRPr lang="en-US" sz="2933" dirty="0" smtClean="0"/>
            </a:lvl4pPr>
            <a:lvl5pPr marL="5486330" indent="-609592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Font typeface="Arial" panose="020B0604020202020204" pitchFamily="34" charset="0"/>
              <a:buChar char="•"/>
              <a:defRPr lang="en-US" sz="2933" dirty="0"/>
            </a:lvl5pPr>
          </a:lstStyle>
          <a:p>
            <a:pPr lvl="0"/>
            <a:r>
              <a:rPr lang="en-US" dirty="0"/>
              <a:t>Text</a:t>
            </a:r>
          </a:p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9220604" y="12972148"/>
            <a:ext cx="3853544" cy="5745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133" b="0">
                <a:solidFill>
                  <a:schemeClr val="tx1"/>
                </a:solidFill>
              </a:defRPr>
            </a:lvl1pPr>
          </a:lstStyle>
          <a:p>
            <a:fld id="{F3B798F2-66A1-4CD0-B890-C77A192E30D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998074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6"/>
          <p:cNvSpPr>
            <a:spLocks noGrp="1"/>
          </p:cNvSpPr>
          <p:nvPr>
            <p:ph type="title"/>
          </p:nvPr>
        </p:nvSpPr>
        <p:spPr>
          <a:xfrm>
            <a:off x="1161144" y="1139387"/>
            <a:ext cx="21913003" cy="1037765"/>
          </a:xfrm>
        </p:spPr>
        <p:txBody>
          <a:bodyPr/>
          <a:lstStyle>
            <a:lvl1pPr>
              <a:defRPr sz="6667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591219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Intro Slide +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Line"/>
          <p:cNvSpPr/>
          <p:nvPr/>
        </p:nvSpPr>
        <p:spPr>
          <a:xfrm flipV="1">
            <a:off x="5985895" y="4544733"/>
            <a:ext cx="2" cy="3065130"/>
          </a:xfrm>
          <a:prstGeom prst="line">
            <a:avLst/>
          </a:prstGeom>
          <a:ln w="25400">
            <a:solidFill>
              <a:srgbClr val="929292"/>
            </a:solidFill>
            <a:miter lim="400000"/>
          </a:ln>
        </p:spPr>
        <p:txBody>
          <a:bodyPr lIns="45718" tIns="45718" rIns="45718" bIns="45718"/>
          <a:lstStyle/>
          <a:p>
            <a:endParaRPr sz="1800" dirty="0"/>
          </a:p>
        </p:txBody>
      </p:sp>
      <p:sp>
        <p:nvSpPr>
          <p:cNvPr id="8" name="THIS IS YOUR TITLE PAGE."/>
          <p:cNvSpPr txBox="1">
            <a:spLocks noGrp="1"/>
          </p:cNvSpPr>
          <p:nvPr>
            <p:ph type="body" sz="quarter" idx="14"/>
          </p:nvPr>
        </p:nvSpPr>
        <p:spPr>
          <a:xfrm>
            <a:off x="7088026" y="5047920"/>
            <a:ext cx="8861992" cy="2179054"/>
          </a:xfrm>
          <a:prstGeom prst="rect">
            <a:avLst/>
          </a:prstGeom>
        </p:spPr>
        <p:txBody>
          <a:bodyPr lIns="91438" tIns="91438" rIns="91438" bIns="91438">
            <a:spAutoFit/>
          </a:bodyPr>
          <a:lstStyle>
            <a:lvl1pPr>
              <a:lnSpc>
                <a:spcPct val="90000"/>
              </a:lnSpc>
              <a:defRPr sz="7200" b="0" i="0" spc="180">
                <a:solidFill>
                  <a:srgbClr val="F0572E"/>
                </a:solidFill>
                <a:latin typeface="Arial Regular"/>
                <a:ea typeface="Arial Regular"/>
                <a:cs typeface="Arial" charset="0"/>
                <a:sym typeface="Gotham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94009653"/>
      </p:ext>
    </p:extLst>
  </p:cSld>
  <p:clrMapOvr>
    <a:masterClrMapping/>
  </p:clrMapOvr>
  <p:transition spd="med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Heading 1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9" descr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55359" y="12083145"/>
            <a:ext cx="22219638" cy="1060574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461B9FF-0212-BA4E-935A-ABEBCA7CF6D9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309689" y="2514600"/>
            <a:ext cx="20240626" cy="87122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lang="en-US" dirty="0" smtClean="0"/>
            </a:lvl1pPr>
            <a:lvl2pPr marL="571500" indent="-5715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US" dirty="0" smtClean="0"/>
            </a:lvl2pPr>
            <a:lvl3pPr marL="571500" indent="-5715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pc="0" baseline="0"/>
            </a:lvl3pPr>
            <a:lvl4pPr marL="977900" indent="-555626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lang="en-US" dirty="0" smtClean="0"/>
            </a:lvl4pPr>
            <a:lvl5pPr marL="1438276" indent="-5588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/>
              <a:defRPr lang="en-US" dirty="0"/>
            </a:lvl5pPr>
            <a:lvl6pPr marL="1844676" indent="-5080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SzPct val="100000"/>
              <a:tabLst/>
              <a:defRPr/>
            </a:lvl6pPr>
            <a:lvl7pPr marL="2809876" indent="-5080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SzPct val="100000"/>
              <a:tabLst/>
              <a:defRPr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970E98B-995B-7449-8827-993E22750B6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309689" y="804674"/>
            <a:ext cx="20240626" cy="1137644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lang="en-US" sz="4200" b="1" i="0" u="none" strike="noStrike" cap="all" spc="104" baseline="0" dirty="0">
                <a:ln>
                  <a:noFill/>
                </a:ln>
                <a:solidFill>
                  <a:srgbClr val="F1572D"/>
                </a:solidFill>
                <a:uFillTx/>
                <a:latin typeface="Arial Regular"/>
                <a:ea typeface="Arial Regular"/>
                <a:cs typeface="Arial" charset="0"/>
                <a:sym typeface="Gotham"/>
              </a:defRPr>
            </a:lvl1pPr>
          </a:lstStyle>
          <a:p>
            <a:pPr lvl="0"/>
            <a:r>
              <a:rPr lang="en-US" dirty="0"/>
              <a:t>ENTER TEXT HERE</a:t>
            </a:r>
          </a:p>
        </p:txBody>
      </p:sp>
    </p:spTree>
    <p:extLst>
      <p:ext uri="{BB962C8B-B14F-4D97-AF65-F5344CB8AC3E}">
        <p14:creationId xmlns:p14="http://schemas.microsoft.com/office/powerpoint/2010/main" val="1080441160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792">
          <p15:clr>
            <a:srgbClr val="FBAE40"/>
          </p15:clr>
        </p15:guide>
        <p15:guide id="2" pos="408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wo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A039B97E-FBA4-44BA-A9D1-DFA2699D7EF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2100985" y="2497381"/>
            <a:ext cx="10505978" cy="8848794"/>
          </a:xfrm>
        </p:spPr>
        <p:txBody>
          <a:bodyPr numCol="2"/>
          <a:lstStyle>
            <a:lvl1pPr marL="0" indent="0">
              <a:buFont typeface="Arial" panose="020B0604020202020204" pitchFamily="34" charset="0"/>
              <a:buNone/>
              <a:defRPr b="0" i="0"/>
            </a:lvl1pPr>
            <a:lvl2pPr marL="1377950" indent="-571500">
              <a:buFont typeface="Arial" panose="020B0604020202020204" pitchFamily="34" charset="0"/>
              <a:buChar char="•"/>
              <a:defRPr b="0" i="0"/>
            </a:lvl2pPr>
            <a:lvl3pPr marL="571500" indent="-571500">
              <a:buFont typeface="Arial" panose="020B0604020202020204" pitchFamily="34" charset="0"/>
              <a:buChar char="•"/>
              <a:defRPr/>
            </a:lvl3pPr>
            <a:lvl4pPr marL="571500" indent="-571500">
              <a:buFont typeface="Arial" panose="020B0604020202020204" pitchFamily="34" charset="0"/>
              <a:buChar char="•"/>
              <a:defRPr/>
            </a:lvl4pPr>
            <a:lvl5pPr marL="571500" indent="-57150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THIS IS YOUR HEADLINE."/>
          <p:cNvSpPr txBox="1">
            <a:spLocks noGrp="1"/>
          </p:cNvSpPr>
          <p:nvPr>
            <p:ph type="body" sz="quarter" idx="14"/>
          </p:nvPr>
        </p:nvSpPr>
        <p:spPr>
          <a:xfrm>
            <a:off x="1309306" y="1076213"/>
            <a:ext cx="20241388" cy="830993"/>
          </a:xfrm>
          <a:prstGeom prst="rect">
            <a:avLst/>
          </a:prstGeom>
        </p:spPr>
        <p:txBody>
          <a:bodyPr lIns="91438" tIns="91438" rIns="91438" bIns="91438">
            <a:spAutoFit/>
          </a:bodyPr>
          <a:lstStyle>
            <a:lvl1pPr>
              <a:lnSpc>
                <a:spcPct val="100000"/>
              </a:lnSpc>
              <a:defRPr b="0" i="0" spc="104">
                <a:solidFill>
                  <a:srgbClr val="F1572D"/>
                </a:solidFill>
                <a:latin typeface="Arial Regular"/>
                <a:ea typeface="Arial Regular"/>
                <a:cs typeface="Arial" charset="0"/>
                <a:sym typeface="Gotham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2" name="Picture 9" descr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55359" y="12083145"/>
            <a:ext cx="22219638" cy="1060574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829F086-2F1C-4E0D-A30C-F435E6AFD6A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351945" y="2497381"/>
            <a:ext cx="10505978" cy="8848794"/>
          </a:xfrm>
          <a:solidFill>
            <a:srgbClr val="EEEDF0"/>
          </a:solidFill>
        </p:spPr>
        <p:txBody>
          <a:bodyPr anchor="ctr"/>
          <a:lstStyle>
            <a:lvl1pPr algn="ctr">
              <a:defRPr b="0" i="0"/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674911812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1584">
          <p15:clr>
            <a:srgbClr val="FBAE40"/>
          </p15:clr>
        </p15:guide>
        <p15:guide id="2" pos="816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ree Column +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HIS IS YOUR HEADLINE."/>
          <p:cNvSpPr txBox="1">
            <a:spLocks noGrp="1"/>
          </p:cNvSpPr>
          <p:nvPr>
            <p:ph type="body" sz="quarter" idx="14"/>
          </p:nvPr>
        </p:nvSpPr>
        <p:spPr>
          <a:xfrm>
            <a:off x="1309306" y="1076213"/>
            <a:ext cx="20241388" cy="830993"/>
          </a:xfrm>
          <a:prstGeom prst="rect">
            <a:avLst/>
          </a:prstGeom>
        </p:spPr>
        <p:txBody>
          <a:bodyPr lIns="91438" tIns="91438" rIns="91438" bIns="91438">
            <a:spAutoFit/>
          </a:bodyPr>
          <a:lstStyle>
            <a:lvl1pPr>
              <a:lnSpc>
                <a:spcPct val="100000"/>
              </a:lnSpc>
              <a:defRPr b="0" i="0" spc="104">
                <a:solidFill>
                  <a:srgbClr val="F1572D"/>
                </a:solidFill>
                <a:latin typeface="Arial Regular"/>
                <a:ea typeface="Arial Regular"/>
                <a:cs typeface="Arial" charset="0"/>
                <a:sym typeface="Gotham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6" name="Picture 9" descr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55359" y="12083145"/>
            <a:ext cx="22219638" cy="1060574"/>
          </a:xfrm>
          <a:prstGeom prst="rect">
            <a:avLst/>
          </a:prstGeom>
          <a:ln w="12700">
            <a:miter lim="400000"/>
          </a:ln>
        </p:spPr>
      </p:pic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D0669FFA-EAB9-46C3-9AD2-1E3BF03356C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384298" y="5798245"/>
            <a:ext cx="6498336" cy="5157722"/>
          </a:xfrm>
        </p:spPr>
        <p:txBody>
          <a:bodyPr numCol="2">
            <a:normAutofit/>
          </a:bodyPr>
          <a:lstStyle>
            <a:lvl1pPr marL="0" indent="0">
              <a:buFont typeface="Arial" panose="020B0604020202020204" pitchFamily="34" charset="0"/>
              <a:buNone/>
              <a:defRPr sz="2400" b="0" i="0"/>
            </a:lvl1pPr>
            <a:lvl2pPr marL="1377950" indent="-571500">
              <a:buFont typeface="Arial" panose="020B0604020202020204" pitchFamily="34" charset="0"/>
              <a:buChar char="•"/>
              <a:defRPr sz="2400" b="0" i="0"/>
            </a:lvl2pPr>
            <a:lvl3pPr marL="571500" indent="-571500">
              <a:buFont typeface="Arial" panose="020B0604020202020204" pitchFamily="34" charset="0"/>
              <a:buChar char="•"/>
              <a:defRPr/>
            </a:lvl3pPr>
            <a:lvl4pPr marL="571500" indent="-571500">
              <a:buFont typeface="Arial" panose="020B0604020202020204" pitchFamily="34" charset="0"/>
              <a:buChar char="•"/>
              <a:defRPr/>
            </a:lvl4pPr>
            <a:lvl5pPr marL="571500" indent="-57150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F5400BDD-4DED-44FB-A796-F87BC437F03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942832" y="5798245"/>
            <a:ext cx="6498336" cy="5157722"/>
          </a:xfrm>
        </p:spPr>
        <p:txBody>
          <a:bodyPr numCol="2">
            <a:normAutofit/>
          </a:bodyPr>
          <a:lstStyle>
            <a:lvl1pPr marL="0" indent="0">
              <a:buFont typeface="Arial" panose="020B0604020202020204" pitchFamily="34" charset="0"/>
              <a:buNone/>
              <a:defRPr sz="2400" b="0" i="0"/>
            </a:lvl1pPr>
            <a:lvl2pPr marL="1377950" indent="-571500">
              <a:buFont typeface="Arial" panose="020B0604020202020204" pitchFamily="34" charset="0"/>
              <a:buChar char="•"/>
              <a:defRPr sz="2400" b="0" i="0"/>
            </a:lvl2pPr>
            <a:lvl3pPr marL="571500" indent="-571500">
              <a:buFont typeface="Arial" panose="020B0604020202020204" pitchFamily="34" charset="0"/>
              <a:buChar char="•"/>
              <a:defRPr/>
            </a:lvl3pPr>
            <a:lvl4pPr marL="571500" indent="-571500">
              <a:buFont typeface="Arial" panose="020B0604020202020204" pitchFamily="34" charset="0"/>
              <a:buChar char="•"/>
              <a:defRPr/>
            </a:lvl4pPr>
            <a:lvl5pPr marL="571500" indent="-57150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8A418939-1969-46D7-834A-0A647C19218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6501366" y="5798245"/>
            <a:ext cx="6498336" cy="5157722"/>
          </a:xfrm>
        </p:spPr>
        <p:txBody>
          <a:bodyPr numCol="2">
            <a:normAutofit/>
          </a:bodyPr>
          <a:lstStyle>
            <a:lvl1pPr marL="0" indent="0">
              <a:buFont typeface="Arial" panose="020B0604020202020204" pitchFamily="34" charset="0"/>
              <a:buNone/>
              <a:defRPr sz="2400" b="0" i="0"/>
            </a:lvl1pPr>
            <a:lvl2pPr marL="1377950" indent="-571500">
              <a:buFont typeface="Arial" panose="020B0604020202020204" pitchFamily="34" charset="0"/>
              <a:buChar char="•"/>
              <a:defRPr sz="2400" b="0" i="0"/>
            </a:lvl2pPr>
            <a:lvl3pPr marL="571500" indent="-571500">
              <a:buFont typeface="Arial" panose="020B0604020202020204" pitchFamily="34" charset="0"/>
              <a:buChar char="•"/>
              <a:defRPr/>
            </a:lvl3pPr>
            <a:lvl4pPr marL="571500" indent="-571500">
              <a:buFont typeface="Arial" panose="020B0604020202020204" pitchFamily="34" charset="0"/>
              <a:buChar char="•"/>
              <a:defRPr/>
            </a:lvl4pPr>
            <a:lvl5pPr marL="571500" indent="-571500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BE6D5346-91E8-433A-BD13-C9A16E59C9E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384521" y="2280345"/>
            <a:ext cx="6498114" cy="3305474"/>
          </a:xfrm>
          <a:solidFill>
            <a:srgbClr val="EEEDF0"/>
          </a:solidFill>
        </p:spPr>
        <p:txBody>
          <a:bodyPr anchor="ctr">
            <a:normAutofit/>
          </a:bodyPr>
          <a:lstStyle>
            <a:lvl1pPr algn="ctr">
              <a:defRPr sz="3600" b="0" i="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0" name="Picture Placeholder 2">
            <a:extLst>
              <a:ext uri="{FF2B5EF4-FFF2-40B4-BE49-F238E27FC236}">
                <a16:creationId xmlns:a16="http://schemas.microsoft.com/office/drawing/2014/main" id="{520102BC-4114-4B5C-A55A-B6084300904C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943055" y="2280345"/>
            <a:ext cx="6498114" cy="3305474"/>
          </a:xfrm>
          <a:solidFill>
            <a:srgbClr val="EEEDF0"/>
          </a:solidFill>
        </p:spPr>
        <p:txBody>
          <a:bodyPr anchor="ctr">
            <a:normAutofit/>
          </a:bodyPr>
          <a:lstStyle>
            <a:lvl1pPr algn="ctr">
              <a:defRPr sz="3600" b="0" i="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400A3F39-D14C-4C7B-A869-185DA35D8055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6501367" y="2280345"/>
            <a:ext cx="6498114" cy="3305474"/>
          </a:xfrm>
          <a:solidFill>
            <a:srgbClr val="EEEDF0"/>
          </a:solidFill>
        </p:spPr>
        <p:txBody>
          <a:bodyPr anchor="ctr">
            <a:normAutofit/>
          </a:bodyPr>
          <a:lstStyle>
            <a:lvl1pPr algn="ctr">
              <a:defRPr sz="3600" b="0" i="0"/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945137582"/>
      </p:ext>
    </p:extLst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2" Type="http://schemas.openxmlformats.org/officeDocument/2006/relationships/slideLayout" Target="../slideLayouts/slideLayout15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slideLayout" Target="../slideLayouts/slideLayout40.xml"/><Relationship Id="rId18" Type="http://schemas.openxmlformats.org/officeDocument/2006/relationships/image" Target="../media/image10.png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39.xml"/><Relationship Id="rId17" Type="http://schemas.openxmlformats.org/officeDocument/2006/relationships/theme" Target="../theme/theme3.xml"/><Relationship Id="rId2" Type="http://schemas.openxmlformats.org/officeDocument/2006/relationships/slideLayout" Target="../slideLayouts/slideLayout29.xml"/><Relationship Id="rId16" Type="http://schemas.openxmlformats.org/officeDocument/2006/relationships/slideLayout" Target="../slideLayouts/slideLayout43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2.xml"/><Relationship Id="rId15" Type="http://schemas.openxmlformats.org/officeDocument/2006/relationships/slideLayout" Target="../slideLayouts/slideLayout42.xml"/><Relationship Id="rId10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slideLayout" Target="../slideLayouts/slideLayout4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46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45.xml"/><Relationship Id="rId1" Type="http://schemas.openxmlformats.org/officeDocument/2006/relationships/slideLayout" Target="../slideLayouts/slideLayout44.xml"/><Relationship Id="rId6" Type="http://schemas.openxmlformats.org/officeDocument/2006/relationships/theme" Target="../theme/theme4.xml"/><Relationship Id="rId5" Type="http://schemas.openxmlformats.org/officeDocument/2006/relationships/slideLayout" Target="../slideLayouts/slideLayout48.xml"/><Relationship Id="rId4" Type="http://schemas.openxmlformats.org/officeDocument/2006/relationships/slideLayout" Target="../slideLayouts/slideLayout47.xml"/><Relationship Id="rId9" Type="http://schemas.openxmlformats.org/officeDocument/2006/relationships/image" Target="../media/image14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51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50.xml"/><Relationship Id="rId1" Type="http://schemas.openxmlformats.org/officeDocument/2006/relationships/slideLayout" Target="../slideLayouts/slideLayout49.xml"/><Relationship Id="rId6" Type="http://schemas.openxmlformats.org/officeDocument/2006/relationships/theme" Target="../theme/theme5.xml"/><Relationship Id="rId5" Type="http://schemas.openxmlformats.org/officeDocument/2006/relationships/slideLayout" Target="../slideLayouts/slideLayout53.xml"/><Relationship Id="rId4" Type="http://schemas.openxmlformats.org/officeDocument/2006/relationships/slideLayout" Target="../slideLayouts/slideLayout52.xml"/><Relationship Id="rId9" Type="http://schemas.openxmlformats.org/officeDocument/2006/relationships/image" Target="../media/image14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Text"/>
          <p:cNvSpPr txBox="1">
            <a:spLocks noGrp="1"/>
          </p:cNvSpPr>
          <p:nvPr>
            <p:ph type="title"/>
          </p:nvPr>
        </p:nvSpPr>
        <p:spPr>
          <a:xfrm>
            <a:off x="635000" y="9512300"/>
            <a:ext cx="23114000" cy="20066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50800" tIns="50800" rIns="50800" bIns="50800" anchor="b">
            <a:normAutofit/>
          </a:bodyPr>
          <a:lstStyle/>
          <a:p>
            <a:r>
              <a:rPr dirty="0"/>
              <a:t>Title Text</a:t>
            </a:r>
          </a:p>
        </p:txBody>
      </p:sp>
      <p:sp>
        <p:nvSpPr>
          <p:cNvPr id="5" name="Body Level One…"/>
          <p:cNvSpPr txBox="1">
            <a:spLocks noGrp="1"/>
          </p:cNvSpPr>
          <p:nvPr>
            <p:ph type="body" idx="1"/>
          </p:nvPr>
        </p:nvSpPr>
        <p:spPr>
          <a:xfrm>
            <a:off x="635000" y="11442700"/>
            <a:ext cx="23114000" cy="15875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50800" tIns="50800" rIns="50800" bIns="50800">
            <a:normAutofit/>
          </a:bodyPr>
          <a:lstStyle/>
          <a:p>
            <a:r>
              <a:rPr dirty="0"/>
              <a:t>Body Level One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6869108" y="2889300"/>
            <a:ext cx="10666788" cy="79028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32970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  <p:sldLayoutId id="2147483672" r:id="rId5"/>
    <p:sldLayoutId id="2147483673" r:id="rId6"/>
    <p:sldLayoutId id="2147483674" r:id="rId7"/>
    <p:sldLayoutId id="2147483675" r:id="rId8"/>
    <p:sldLayoutId id="2147483676" r:id="rId9"/>
    <p:sldLayoutId id="2147483677" r:id="rId10"/>
    <p:sldLayoutId id="2147483678" r:id="rId11"/>
    <p:sldLayoutId id="2147483713" r:id="rId12"/>
    <p:sldLayoutId id="2147483736" r:id="rId13"/>
  </p:sldLayoutIdLst>
  <p:transition spd="med"/>
  <p:txStyles>
    <p:titleStyle>
      <a:lvl1pPr marL="0" marR="0" indent="0" algn="l" defTabSz="4572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200" b="1" i="0" u="none" strike="noStrike" cap="none" spc="180" baseline="0">
          <a:ln>
            <a:noFill/>
          </a:ln>
          <a:solidFill>
            <a:srgbClr val="F0572E"/>
          </a:solidFill>
          <a:uFillTx/>
          <a:latin typeface="arial" charset="0"/>
          <a:ea typeface="Gotham"/>
          <a:cs typeface="Gotham"/>
          <a:sym typeface="Gotham"/>
        </a:defRPr>
      </a:lvl1pPr>
      <a:lvl2pPr marL="0" marR="0" indent="0" algn="l" defTabSz="4572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200" b="1" i="0" u="none" strike="noStrike" cap="none" spc="180" baseline="0">
          <a:ln>
            <a:noFill/>
          </a:ln>
          <a:solidFill>
            <a:srgbClr val="FFFFFF"/>
          </a:solidFill>
          <a:uFillTx/>
          <a:latin typeface="Gotham"/>
          <a:ea typeface="Gotham"/>
          <a:cs typeface="Gotham"/>
          <a:sym typeface="Gotham"/>
        </a:defRPr>
      </a:lvl2pPr>
      <a:lvl3pPr marL="0" marR="0" indent="0" algn="l" defTabSz="4572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200" b="1" i="0" u="none" strike="noStrike" cap="none" spc="180" baseline="0">
          <a:ln>
            <a:noFill/>
          </a:ln>
          <a:solidFill>
            <a:srgbClr val="FFFFFF"/>
          </a:solidFill>
          <a:uFillTx/>
          <a:latin typeface="Gotham"/>
          <a:ea typeface="Gotham"/>
          <a:cs typeface="Gotham"/>
          <a:sym typeface="Gotham"/>
        </a:defRPr>
      </a:lvl3pPr>
      <a:lvl4pPr marL="0" marR="0" indent="0" algn="l" defTabSz="4572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200" b="1" i="0" u="none" strike="noStrike" cap="none" spc="180" baseline="0">
          <a:ln>
            <a:noFill/>
          </a:ln>
          <a:solidFill>
            <a:srgbClr val="FFFFFF"/>
          </a:solidFill>
          <a:uFillTx/>
          <a:latin typeface="Gotham"/>
          <a:ea typeface="Gotham"/>
          <a:cs typeface="Gotham"/>
          <a:sym typeface="Gotham"/>
        </a:defRPr>
      </a:lvl4pPr>
      <a:lvl5pPr marL="0" marR="0" indent="0" algn="l" defTabSz="4572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200" b="1" i="0" u="none" strike="noStrike" cap="none" spc="180" baseline="0">
          <a:ln>
            <a:noFill/>
          </a:ln>
          <a:solidFill>
            <a:srgbClr val="FFFFFF"/>
          </a:solidFill>
          <a:uFillTx/>
          <a:latin typeface="Gotham"/>
          <a:ea typeface="Gotham"/>
          <a:cs typeface="Gotham"/>
          <a:sym typeface="Gotham"/>
        </a:defRPr>
      </a:lvl5pPr>
      <a:lvl6pPr marL="0" marR="0" indent="0" algn="l" defTabSz="4572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200" b="1" i="0" u="none" strike="noStrike" cap="none" spc="180" baseline="0">
          <a:ln>
            <a:noFill/>
          </a:ln>
          <a:solidFill>
            <a:srgbClr val="FFFFFF"/>
          </a:solidFill>
          <a:uFillTx/>
          <a:latin typeface="Gotham"/>
          <a:ea typeface="Gotham"/>
          <a:cs typeface="Gotham"/>
          <a:sym typeface="Gotham"/>
        </a:defRPr>
      </a:lvl6pPr>
      <a:lvl7pPr marL="0" marR="0" indent="0" algn="l" defTabSz="4572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200" b="1" i="0" u="none" strike="noStrike" cap="none" spc="180" baseline="0">
          <a:ln>
            <a:noFill/>
          </a:ln>
          <a:solidFill>
            <a:srgbClr val="FFFFFF"/>
          </a:solidFill>
          <a:uFillTx/>
          <a:latin typeface="Gotham"/>
          <a:ea typeface="Gotham"/>
          <a:cs typeface="Gotham"/>
          <a:sym typeface="Gotham"/>
        </a:defRPr>
      </a:lvl7pPr>
      <a:lvl8pPr marL="0" marR="0" indent="0" algn="l" defTabSz="4572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200" b="1" i="0" u="none" strike="noStrike" cap="none" spc="180" baseline="0">
          <a:ln>
            <a:noFill/>
          </a:ln>
          <a:solidFill>
            <a:srgbClr val="FFFFFF"/>
          </a:solidFill>
          <a:uFillTx/>
          <a:latin typeface="Gotham"/>
          <a:ea typeface="Gotham"/>
          <a:cs typeface="Gotham"/>
          <a:sym typeface="Gotham"/>
        </a:defRPr>
      </a:lvl8pPr>
      <a:lvl9pPr marL="0" marR="0" indent="0" algn="l" defTabSz="4572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200" b="1" i="0" u="none" strike="noStrike" cap="none" spc="180" baseline="0">
          <a:ln>
            <a:noFill/>
          </a:ln>
          <a:solidFill>
            <a:srgbClr val="FFFFFF"/>
          </a:solidFill>
          <a:uFillTx/>
          <a:latin typeface="Gotham"/>
          <a:ea typeface="Gotham"/>
          <a:cs typeface="Gotham"/>
          <a:sym typeface="Gotham"/>
        </a:defRPr>
      </a:lvl9pPr>
    </p:titleStyle>
    <p:bodyStyle>
      <a:lvl1pPr marL="0" marR="0" indent="0" algn="l" defTabSz="457200" rtl="0" eaLnBrk="1" latinLnBrk="0" hangingPunct="1">
        <a:lnSpc>
          <a:spcPct val="1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42" baseline="0">
          <a:ln>
            <a:noFill/>
          </a:ln>
          <a:solidFill>
            <a:srgbClr val="5E5E5E"/>
          </a:solidFill>
          <a:uFillTx/>
          <a:latin typeface="Arial Regular"/>
          <a:ea typeface="Arial Regular"/>
          <a:cs typeface="Arial" charset="0"/>
          <a:sym typeface="Gotham Light"/>
        </a:defRPr>
      </a:lvl1pPr>
      <a:lvl2pPr marL="0" marR="0" indent="0" algn="l" defTabSz="457200" rtl="0" eaLnBrk="1" latinLnBrk="0" hangingPunct="1">
        <a:lnSpc>
          <a:spcPct val="1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42" baseline="0">
          <a:ln>
            <a:noFill/>
          </a:ln>
          <a:solidFill>
            <a:srgbClr val="5E5E5E"/>
          </a:solidFill>
          <a:uFillTx/>
          <a:latin typeface="Arial Regular"/>
          <a:ea typeface="Arial Regular"/>
          <a:cs typeface="Arial" charset="0"/>
          <a:sym typeface="Gotham Light"/>
        </a:defRPr>
      </a:lvl2pPr>
      <a:lvl3pPr marL="0" marR="0" indent="0" algn="l" defTabSz="457200" rtl="0" eaLnBrk="1" latinLnBrk="0" hangingPunct="1">
        <a:lnSpc>
          <a:spcPct val="1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42" baseline="0">
          <a:ln>
            <a:noFill/>
          </a:ln>
          <a:solidFill>
            <a:srgbClr val="5E5E5E"/>
          </a:solidFill>
          <a:uFillTx/>
          <a:latin typeface="Arial Regular"/>
          <a:ea typeface="Arial Regular"/>
          <a:cs typeface="Arial" charset="0"/>
          <a:sym typeface="Gotham Light"/>
        </a:defRPr>
      </a:lvl3pPr>
      <a:lvl4pPr marL="0" marR="0" indent="0" algn="l" defTabSz="457200" rtl="0" eaLnBrk="1" latinLnBrk="0" hangingPunct="1">
        <a:lnSpc>
          <a:spcPct val="1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42" baseline="0">
          <a:ln>
            <a:noFill/>
          </a:ln>
          <a:solidFill>
            <a:srgbClr val="5E5E5E"/>
          </a:solidFill>
          <a:uFillTx/>
          <a:latin typeface="Arial Regular"/>
          <a:ea typeface="Arial Regular"/>
          <a:cs typeface="Arial" charset="0"/>
          <a:sym typeface="Gotham Light"/>
        </a:defRPr>
      </a:lvl4pPr>
      <a:lvl5pPr marL="0" marR="0" indent="0" algn="l" defTabSz="457200" rtl="0" eaLnBrk="1" latinLnBrk="0" hangingPunct="1">
        <a:lnSpc>
          <a:spcPct val="1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42" baseline="0">
          <a:ln>
            <a:noFill/>
          </a:ln>
          <a:solidFill>
            <a:srgbClr val="5E5E5E"/>
          </a:solidFill>
          <a:uFillTx/>
          <a:latin typeface="Arial Regular"/>
          <a:ea typeface="Arial Regular"/>
          <a:cs typeface="Arial" charset="0"/>
          <a:sym typeface="Gotham Light"/>
        </a:defRPr>
      </a:lvl5pPr>
      <a:lvl6pPr marL="3687884" marR="0" indent="-512884" algn="l" defTabSz="457200" rtl="0" eaLnBrk="1" latinLnBrk="0" hangingPunct="1">
        <a:lnSpc>
          <a:spcPct val="180000"/>
        </a:lnSpc>
        <a:spcBef>
          <a:spcPts val="0"/>
        </a:spcBef>
        <a:spcAft>
          <a:spcPts val="0"/>
        </a:spcAft>
        <a:buClrTx/>
        <a:buSzPct val="125000"/>
        <a:buFontTx/>
        <a:buChar char="•"/>
        <a:tabLst/>
        <a:defRPr sz="4200" b="0" i="0" u="none" strike="noStrike" cap="none" spc="42" baseline="0">
          <a:ln>
            <a:noFill/>
          </a:ln>
          <a:solidFill>
            <a:srgbClr val="5E5E5E"/>
          </a:solidFill>
          <a:uFillTx/>
          <a:latin typeface="Gotham Light"/>
          <a:ea typeface="Gotham Light"/>
          <a:cs typeface="Gotham Light"/>
          <a:sym typeface="Gotham Light"/>
        </a:defRPr>
      </a:lvl6pPr>
      <a:lvl7pPr marL="4322884" marR="0" indent="-512884" algn="l" defTabSz="457200" rtl="0" eaLnBrk="1" latinLnBrk="0" hangingPunct="1">
        <a:lnSpc>
          <a:spcPct val="180000"/>
        </a:lnSpc>
        <a:spcBef>
          <a:spcPts val="0"/>
        </a:spcBef>
        <a:spcAft>
          <a:spcPts val="0"/>
        </a:spcAft>
        <a:buClrTx/>
        <a:buSzPct val="125000"/>
        <a:buFontTx/>
        <a:buChar char="•"/>
        <a:tabLst/>
        <a:defRPr sz="4200" b="0" i="0" u="none" strike="noStrike" cap="none" spc="42" baseline="0">
          <a:ln>
            <a:noFill/>
          </a:ln>
          <a:solidFill>
            <a:srgbClr val="5E5E5E"/>
          </a:solidFill>
          <a:uFillTx/>
          <a:latin typeface="Gotham Light"/>
          <a:ea typeface="Gotham Light"/>
          <a:cs typeface="Gotham Light"/>
          <a:sym typeface="Gotham Light"/>
        </a:defRPr>
      </a:lvl7pPr>
      <a:lvl8pPr marL="4957884" marR="0" indent="-512884" algn="l" defTabSz="457200" rtl="0" eaLnBrk="1" latinLnBrk="0" hangingPunct="1">
        <a:lnSpc>
          <a:spcPct val="180000"/>
        </a:lnSpc>
        <a:spcBef>
          <a:spcPts val="0"/>
        </a:spcBef>
        <a:spcAft>
          <a:spcPts val="0"/>
        </a:spcAft>
        <a:buClrTx/>
        <a:buSzPct val="125000"/>
        <a:buFontTx/>
        <a:buChar char="•"/>
        <a:tabLst/>
        <a:defRPr sz="4200" b="0" i="0" u="none" strike="noStrike" cap="none" spc="42" baseline="0">
          <a:ln>
            <a:noFill/>
          </a:ln>
          <a:solidFill>
            <a:srgbClr val="5E5E5E"/>
          </a:solidFill>
          <a:uFillTx/>
          <a:latin typeface="Gotham Light"/>
          <a:ea typeface="Gotham Light"/>
          <a:cs typeface="Gotham Light"/>
          <a:sym typeface="Gotham Light"/>
        </a:defRPr>
      </a:lvl8pPr>
      <a:lvl9pPr marL="5592884" marR="0" indent="-512884" algn="l" defTabSz="457200" rtl="0" eaLnBrk="1" latinLnBrk="0" hangingPunct="1">
        <a:lnSpc>
          <a:spcPct val="180000"/>
        </a:lnSpc>
        <a:spcBef>
          <a:spcPts val="0"/>
        </a:spcBef>
        <a:spcAft>
          <a:spcPts val="0"/>
        </a:spcAft>
        <a:buClrTx/>
        <a:buSzPct val="125000"/>
        <a:buFontTx/>
        <a:buChar char="•"/>
        <a:tabLst/>
        <a:defRPr sz="4200" b="0" i="0" u="none" strike="noStrike" cap="none" spc="42" baseline="0">
          <a:ln>
            <a:noFill/>
          </a:ln>
          <a:solidFill>
            <a:srgbClr val="5E5E5E"/>
          </a:solidFill>
          <a:uFillTx/>
          <a:latin typeface="Gotham Light"/>
          <a:ea typeface="Gotham Light"/>
          <a:cs typeface="Gotham Light"/>
          <a:sym typeface="Gotham Light"/>
        </a:defRPr>
      </a:lvl9pPr>
    </p:bodyStyle>
    <p:otherStyle>
      <a:lvl1pPr marL="0" marR="0" indent="0" algn="l" defTabSz="457200" rtl="0" eaLnBrk="1" latinLnBrk="0" hangingPunct="1">
        <a:lnSpc>
          <a:spcPct val="1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42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Gotham Light"/>
        </a:defRPr>
      </a:lvl1pPr>
      <a:lvl2pPr marL="0" marR="0" indent="0" algn="l" defTabSz="457200" rtl="0" eaLnBrk="1" latinLnBrk="0" hangingPunct="1">
        <a:lnSpc>
          <a:spcPct val="1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42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Gotham Light"/>
        </a:defRPr>
      </a:lvl2pPr>
      <a:lvl3pPr marL="0" marR="0" indent="0" algn="l" defTabSz="457200" rtl="0" eaLnBrk="1" latinLnBrk="0" hangingPunct="1">
        <a:lnSpc>
          <a:spcPct val="1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42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Gotham Light"/>
        </a:defRPr>
      </a:lvl3pPr>
      <a:lvl4pPr marL="0" marR="0" indent="0" algn="l" defTabSz="457200" rtl="0" eaLnBrk="1" latinLnBrk="0" hangingPunct="1">
        <a:lnSpc>
          <a:spcPct val="1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42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Gotham Light"/>
        </a:defRPr>
      </a:lvl4pPr>
      <a:lvl5pPr marL="0" marR="0" indent="0" algn="l" defTabSz="457200" rtl="0" eaLnBrk="1" latinLnBrk="0" hangingPunct="1">
        <a:lnSpc>
          <a:spcPct val="1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42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Gotham Light"/>
        </a:defRPr>
      </a:lvl5pPr>
      <a:lvl6pPr marL="0" marR="0" indent="0" algn="l" defTabSz="457200" rtl="0" eaLnBrk="1" latinLnBrk="0" hangingPunct="1">
        <a:lnSpc>
          <a:spcPct val="1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42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Gotham Light"/>
        </a:defRPr>
      </a:lvl6pPr>
      <a:lvl7pPr marL="0" marR="0" indent="0" algn="l" defTabSz="457200" rtl="0" eaLnBrk="1" latinLnBrk="0" hangingPunct="1">
        <a:lnSpc>
          <a:spcPct val="1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42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Gotham Light"/>
        </a:defRPr>
      </a:lvl7pPr>
      <a:lvl8pPr marL="0" marR="0" indent="0" algn="l" defTabSz="457200" rtl="0" eaLnBrk="1" latinLnBrk="0" hangingPunct="1">
        <a:lnSpc>
          <a:spcPct val="1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42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Gotham Light"/>
        </a:defRPr>
      </a:lvl8pPr>
      <a:lvl9pPr marL="0" marR="0" indent="0" algn="l" defTabSz="457200" rtl="0" eaLnBrk="1" latinLnBrk="0" hangingPunct="1">
        <a:lnSpc>
          <a:spcPct val="1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42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Gotham Light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Text"/>
          <p:cNvSpPr txBox="1">
            <a:spLocks noGrp="1"/>
          </p:cNvSpPr>
          <p:nvPr>
            <p:ph type="title"/>
          </p:nvPr>
        </p:nvSpPr>
        <p:spPr>
          <a:xfrm>
            <a:off x="635000" y="9512300"/>
            <a:ext cx="23114000" cy="20066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50800" tIns="50800" rIns="50800" bIns="50800" anchor="b">
            <a:normAutofit/>
          </a:bodyPr>
          <a:lstStyle/>
          <a:p>
            <a:r>
              <a:rPr dirty="0"/>
              <a:t>Title Text</a:t>
            </a:r>
          </a:p>
        </p:txBody>
      </p:sp>
      <p:sp>
        <p:nvSpPr>
          <p:cNvPr id="5" name="Body Level One…"/>
          <p:cNvSpPr txBox="1">
            <a:spLocks noGrp="1"/>
          </p:cNvSpPr>
          <p:nvPr>
            <p:ph type="body" idx="1"/>
          </p:nvPr>
        </p:nvSpPr>
        <p:spPr>
          <a:xfrm>
            <a:off x="635000" y="11442700"/>
            <a:ext cx="23114000" cy="15875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50800" tIns="50800" rIns="50800" bIns="50800">
            <a:normAutofit/>
          </a:bodyPr>
          <a:lstStyle/>
          <a:p>
            <a:r>
              <a:rPr dirty="0"/>
              <a:t>Body Level One</a:t>
            </a:r>
          </a:p>
          <a:p>
            <a:pPr lvl="1"/>
            <a:r>
              <a:rPr dirty="0"/>
              <a:t>Body Level Two</a:t>
            </a:r>
          </a:p>
          <a:p>
            <a:pPr lvl="2"/>
            <a:r>
              <a:rPr dirty="0"/>
              <a:t>Body Level Three</a:t>
            </a:r>
          </a:p>
          <a:p>
            <a:pPr lvl="3"/>
            <a:r>
              <a:rPr dirty="0"/>
              <a:t>Body Level Four</a:t>
            </a:r>
          </a:p>
          <a:p>
            <a:pPr lvl="4"/>
            <a:r>
              <a:rPr dirty="0"/>
              <a:t>Body Level Fiv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16"/>
          <a:stretch>
            <a:fillRect/>
          </a:stretch>
        </p:blipFill>
        <p:spPr>
          <a:xfrm>
            <a:off x="6869107" y="2889300"/>
            <a:ext cx="10666787" cy="7902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04269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  <p:sldLayoutId id="2147483688" r:id="rId8"/>
    <p:sldLayoutId id="2147483689" r:id="rId9"/>
    <p:sldLayoutId id="2147483690" r:id="rId10"/>
    <p:sldLayoutId id="2147483691" r:id="rId11"/>
    <p:sldLayoutId id="2147483692" r:id="rId12"/>
    <p:sldLayoutId id="2147483693" r:id="rId13"/>
    <p:sldLayoutId id="2147483694" r:id="rId14"/>
  </p:sldLayoutIdLst>
  <p:transition spd="med"/>
  <p:txStyles>
    <p:titleStyle>
      <a:lvl1pPr marL="0" marR="0" indent="0" algn="l" defTabSz="4572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200" b="1" i="0" u="none" strike="noStrike" cap="none" spc="180" baseline="0">
          <a:ln>
            <a:noFill/>
          </a:ln>
          <a:solidFill>
            <a:srgbClr val="F0572E"/>
          </a:solidFill>
          <a:uFillTx/>
          <a:latin typeface="arial" charset="0"/>
          <a:ea typeface="Gotham"/>
          <a:cs typeface="Gotham"/>
          <a:sym typeface="Gotham"/>
        </a:defRPr>
      </a:lvl1pPr>
      <a:lvl2pPr marL="0" marR="0" indent="0" algn="l" defTabSz="4572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200" b="1" i="0" u="none" strike="noStrike" cap="none" spc="180" baseline="0">
          <a:ln>
            <a:noFill/>
          </a:ln>
          <a:solidFill>
            <a:srgbClr val="FFFFFF"/>
          </a:solidFill>
          <a:uFillTx/>
          <a:latin typeface="Gotham"/>
          <a:ea typeface="Gotham"/>
          <a:cs typeface="Gotham"/>
          <a:sym typeface="Gotham"/>
        </a:defRPr>
      </a:lvl2pPr>
      <a:lvl3pPr marL="0" marR="0" indent="0" algn="l" defTabSz="4572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200" b="1" i="0" u="none" strike="noStrike" cap="none" spc="180" baseline="0">
          <a:ln>
            <a:noFill/>
          </a:ln>
          <a:solidFill>
            <a:srgbClr val="FFFFFF"/>
          </a:solidFill>
          <a:uFillTx/>
          <a:latin typeface="Gotham"/>
          <a:ea typeface="Gotham"/>
          <a:cs typeface="Gotham"/>
          <a:sym typeface="Gotham"/>
        </a:defRPr>
      </a:lvl3pPr>
      <a:lvl4pPr marL="0" marR="0" indent="0" algn="l" defTabSz="4572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200" b="1" i="0" u="none" strike="noStrike" cap="none" spc="180" baseline="0">
          <a:ln>
            <a:noFill/>
          </a:ln>
          <a:solidFill>
            <a:srgbClr val="FFFFFF"/>
          </a:solidFill>
          <a:uFillTx/>
          <a:latin typeface="Gotham"/>
          <a:ea typeface="Gotham"/>
          <a:cs typeface="Gotham"/>
          <a:sym typeface="Gotham"/>
        </a:defRPr>
      </a:lvl4pPr>
      <a:lvl5pPr marL="0" marR="0" indent="0" algn="l" defTabSz="4572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200" b="1" i="0" u="none" strike="noStrike" cap="none" spc="180" baseline="0">
          <a:ln>
            <a:noFill/>
          </a:ln>
          <a:solidFill>
            <a:srgbClr val="FFFFFF"/>
          </a:solidFill>
          <a:uFillTx/>
          <a:latin typeface="Gotham"/>
          <a:ea typeface="Gotham"/>
          <a:cs typeface="Gotham"/>
          <a:sym typeface="Gotham"/>
        </a:defRPr>
      </a:lvl5pPr>
      <a:lvl6pPr marL="0" marR="0" indent="0" algn="l" defTabSz="4572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200" b="1" i="0" u="none" strike="noStrike" cap="none" spc="180" baseline="0">
          <a:ln>
            <a:noFill/>
          </a:ln>
          <a:solidFill>
            <a:srgbClr val="FFFFFF"/>
          </a:solidFill>
          <a:uFillTx/>
          <a:latin typeface="Gotham"/>
          <a:ea typeface="Gotham"/>
          <a:cs typeface="Gotham"/>
          <a:sym typeface="Gotham"/>
        </a:defRPr>
      </a:lvl6pPr>
      <a:lvl7pPr marL="0" marR="0" indent="0" algn="l" defTabSz="4572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200" b="1" i="0" u="none" strike="noStrike" cap="none" spc="180" baseline="0">
          <a:ln>
            <a:noFill/>
          </a:ln>
          <a:solidFill>
            <a:srgbClr val="FFFFFF"/>
          </a:solidFill>
          <a:uFillTx/>
          <a:latin typeface="Gotham"/>
          <a:ea typeface="Gotham"/>
          <a:cs typeface="Gotham"/>
          <a:sym typeface="Gotham"/>
        </a:defRPr>
      </a:lvl7pPr>
      <a:lvl8pPr marL="0" marR="0" indent="0" algn="l" defTabSz="4572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200" b="1" i="0" u="none" strike="noStrike" cap="none" spc="180" baseline="0">
          <a:ln>
            <a:noFill/>
          </a:ln>
          <a:solidFill>
            <a:srgbClr val="FFFFFF"/>
          </a:solidFill>
          <a:uFillTx/>
          <a:latin typeface="Gotham"/>
          <a:ea typeface="Gotham"/>
          <a:cs typeface="Gotham"/>
          <a:sym typeface="Gotham"/>
        </a:defRPr>
      </a:lvl8pPr>
      <a:lvl9pPr marL="0" marR="0" indent="0" algn="l" defTabSz="4572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200" b="1" i="0" u="none" strike="noStrike" cap="none" spc="180" baseline="0">
          <a:ln>
            <a:noFill/>
          </a:ln>
          <a:solidFill>
            <a:srgbClr val="FFFFFF"/>
          </a:solidFill>
          <a:uFillTx/>
          <a:latin typeface="Gotham"/>
          <a:ea typeface="Gotham"/>
          <a:cs typeface="Gotham"/>
          <a:sym typeface="Gotham"/>
        </a:defRPr>
      </a:lvl9pPr>
    </p:titleStyle>
    <p:bodyStyle>
      <a:lvl1pPr marL="0" marR="0" indent="0" algn="l" defTabSz="457200" rtl="0" latinLnBrk="0">
        <a:lnSpc>
          <a:spcPct val="1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42" baseline="0">
          <a:ln>
            <a:noFill/>
          </a:ln>
          <a:solidFill>
            <a:srgbClr val="5E5E5E"/>
          </a:solidFill>
          <a:uFillTx/>
          <a:latin typeface="Arial" charset="0"/>
          <a:ea typeface="Arial" charset="0"/>
          <a:cs typeface="Arial" charset="0"/>
          <a:sym typeface="Gotham Light"/>
        </a:defRPr>
      </a:lvl1pPr>
      <a:lvl2pPr marL="0" marR="0" indent="0" algn="l" defTabSz="457200" rtl="0" latinLnBrk="0">
        <a:lnSpc>
          <a:spcPct val="1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42" baseline="0">
          <a:ln>
            <a:noFill/>
          </a:ln>
          <a:solidFill>
            <a:srgbClr val="5E5E5E"/>
          </a:solidFill>
          <a:uFillTx/>
          <a:latin typeface="Arial" charset="0"/>
          <a:ea typeface="Arial" charset="0"/>
          <a:cs typeface="Arial" charset="0"/>
          <a:sym typeface="Gotham Light"/>
        </a:defRPr>
      </a:lvl2pPr>
      <a:lvl3pPr marL="0" marR="0" indent="0" algn="l" defTabSz="457200" rtl="0" latinLnBrk="0">
        <a:lnSpc>
          <a:spcPct val="1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42" baseline="0">
          <a:ln>
            <a:noFill/>
          </a:ln>
          <a:solidFill>
            <a:srgbClr val="5E5E5E"/>
          </a:solidFill>
          <a:uFillTx/>
          <a:latin typeface="Arial" charset="0"/>
          <a:ea typeface="Arial" charset="0"/>
          <a:cs typeface="Arial" charset="0"/>
          <a:sym typeface="Gotham Light"/>
        </a:defRPr>
      </a:lvl3pPr>
      <a:lvl4pPr marL="0" marR="0" indent="0" algn="l" defTabSz="457200" rtl="0" latinLnBrk="0">
        <a:lnSpc>
          <a:spcPct val="1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42" baseline="0">
          <a:ln>
            <a:noFill/>
          </a:ln>
          <a:solidFill>
            <a:srgbClr val="5E5E5E"/>
          </a:solidFill>
          <a:uFillTx/>
          <a:latin typeface="Arial" charset="0"/>
          <a:ea typeface="Arial" charset="0"/>
          <a:cs typeface="Arial" charset="0"/>
          <a:sym typeface="Gotham Light"/>
        </a:defRPr>
      </a:lvl4pPr>
      <a:lvl5pPr marL="0" marR="0" indent="0" algn="l" defTabSz="457200" rtl="0" latinLnBrk="0">
        <a:lnSpc>
          <a:spcPct val="1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42" baseline="0">
          <a:ln>
            <a:noFill/>
          </a:ln>
          <a:solidFill>
            <a:srgbClr val="5E5E5E"/>
          </a:solidFill>
          <a:uFillTx/>
          <a:latin typeface="Arial" charset="0"/>
          <a:ea typeface="Arial" charset="0"/>
          <a:cs typeface="Arial" charset="0"/>
          <a:sym typeface="Gotham Light"/>
        </a:defRPr>
      </a:lvl5pPr>
      <a:lvl6pPr marL="3687884" marR="0" indent="-512884" algn="l" defTabSz="457200" rtl="0" latinLnBrk="0">
        <a:lnSpc>
          <a:spcPct val="180000"/>
        </a:lnSpc>
        <a:spcBef>
          <a:spcPts val="0"/>
        </a:spcBef>
        <a:spcAft>
          <a:spcPts val="0"/>
        </a:spcAft>
        <a:buClrTx/>
        <a:buSzPct val="125000"/>
        <a:buFontTx/>
        <a:buChar char="•"/>
        <a:tabLst/>
        <a:defRPr sz="4200" b="0" i="0" u="none" strike="noStrike" cap="none" spc="42" baseline="0">
          <a:ln>
            <a:noFill/>
          </a:ln>
          <a:solidFill>
            <a:srgbClr val="5E5E5E"/>
          </a:solidFill>
          <a:uFillTx/>
          <a:latin typeface="Gotham Light"/>
          <a:ea typeface="Gotham Light"/>
          <a:cs typeface="Gotham Light"/>
          <a:sym typeface="Gotham Light"/>
        </a:defRPr>
      </a:lvl6pPr>
      <a:lvl7pPr marL="4322884" marR="0" indent="-512884" algn="l" defTabSz="457200" rtl="0" latinLnBrk="0">
        <a:lnSpc>
          <a:spcPct val="180000"/>
        </a:lnSpc>
        <a:spcBef>
          <a:spcPts val="0"/>
        </a:spcBef>
        <a:spcAft>
          <a:spcPts val="0"/>
        </a:spcAft>
        <a:buClrTx/>
        <a:buSzPct val="125000"/>
        <a:buFontTx/>
        <a:buChar char="•"/>
        <a:tabLst/>
        <a:defRPr sz="4200" b="0" i="0" u="none" strike="noStrike" cap="none" spc="42" baseline="0">
          <a:ln>
            <a:noFill/>
          </a:ln>
          <a:solidFill>
            <a:srgbClr val="5E5E5E"/>
          </a:solidFill>
          <a:uFillTx/>
          <a:latin typeface="Gotham Light"/>
          <a:ea typeface="Gotham Light"/>
          <a:cs typeface="Gotham Light"/>
          <a:sym typeface="Gotham Light"/>
        </a:defRPr>
      </a:lvl7pPr>
      <a:lvl8pPr marL="4957884" marR="0" indent="-512884" algn="l" defTabSz="457200" rtl="0" latinLnBrk="0">
        <a:lnSpc>
          <a:spcPct val="180000"/>
        </a:lnSpc>
        <a:spcBef>
          <a:spcPts val="0"/>
        </a:spcBef>
        <a:spcAft>
          <a:spcPts val="0"/>
        </a:spcAft>
        <a:buClrTx/>
        <a:buSzPct val="125000"/>
        <a:buFontTx/>
        <a:buChar char="•"/>
        <a:tabLst/>
        <a:defRPr sz="4200" b="0" i="0" u="none" strike="noStrike" cap="none" spc="42" baseline="0">
          <a:ln>
            <a:noFill/>
          </a:ln>
          <a:solidFill>
            <a:srgbClr val="5E5E5E"/>
          </a:solidFill>
          <a:uFillTx/>
          <a:latin typeface="Gotham Light"/>
          <a:ea typeface="Gotham Light"/>
          <a:cs typeface="Gotham Light"/>
          <a:sym typeface="Gotham Light"/>
        </a:defRPr>
      </a:lvl8pPr>
      <a:lvl9pPr marL="5592884" marR="0" indent="-512884" algn="l" defTabSz="457200" rtl="0" latinLnBrk="0">
        <a:lnSpc>
          <a:spcPct val="180000"/>
        </a:lnSpc>
        <a:spcBef>
          <a:spcPts val="0"/>
        </a:spcBef>
        <a:spcAft>
          <a:spcPts val="0"/>
        </a:spcAft>
        <a:buClrTx/>
        <a:buSzPct val="125000"/>
        <a:buFontTx/>
        <a:buChar char="•"/>
        <a:tabLst/>
        <a:defRPr sz="4200" b="0" i="0" u="none" strike="noStrike" cap="none" spc="42" baseline="0">
          <a:ln>
            <a:noFill/>
          </a:ln>
          <a:solidFill>
            <a:srgbClr val="5E5E5E"/>
          </a:solidFill>
          <a:uFillTx/>
          <a:latin typeface="Gotham Light"/>
          <a:ea typeface="Gotham Light"/>
          <a:cs typeface="Gotham Light"/>
          <a:sym typeface="Gotham Light"/>
        </a:defRPr>
      </a:lvl9pPr>
    </p:bodyStyle>
    <p:otherStyle>
      <a:lvl1pPr marL="0" marR="0" indent="0" algn="l" defTabSz="457200" rtl="0" latinLnBrk="0">
        <a:lnSpc>
          <a:spcPct val="1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42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Gotham Light"/>
        </a:defRPr>
      </a:lvl1pPr>
      <a:lvl2pPr marL="0" marR="0" indent="0" algn="l" defTabSz="457200" rtl="0" latinLnBrk="0">
        <a:lnSpc>
          <a:spcPct val="1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42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Gotham Light"/>
        </a:defRPr>
      </a:lvl2pPr>
      <a:lvl3pPr marL="0" marR="0" indent="0" algn="l" defTabSz="457200" rtl="0" latinLnBrk="0">
        <a:lnSpc>
          <a:spcPct val="1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42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Gotham Light"/>
        </a:defRPr>
      </a:lvl3pPr>
      <a:lvl4pPr marL="0" marR="0" indent="0" algn="l" defTabSz="457200" rtl="0" latinLnBrk="0">
        <a:lnSpc>
          <a:spcPct val="1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42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Gotham Light"/>
        </a:defRPr>
      </a:lvl4pPr>
      <a:lvl5pPr marL="0" marR="0" indent="0" algn="l" defTabSz="457200" rtl="0" latinLnBrk="0">
        <a:lnSpc>
          <a:spcPct val="1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42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Gotham Light"/>
        </a:defRPr>
      </a:lvl5pPr>
      <a:lvl6pPr marL="0" marR="0" indent="0" algn="l" defTabSz="457200" rtl="0" latinLnBrk="0">
        <a:lnSpc>
          <a:spcPct val="1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42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Gotham Light"/>
        </a:defRPr>
      </a:lvl6pPr>
      <a:lvl7pPr marL="0" marR="0" indent="0" algn="l" defTabSz="457200" rtl="0" latinLnBrk="0">
        <a:lnSpc>
          <a:spcPct val="1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42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Gotham Light"/>
        </a:defRPr>
      </a:lvl7pPr>
      <a:lvl8pPr marL="0" marR="0" indent="0" algn="l" defTabSz="457200" rtl="0" latinLnBrk="0">
        <a:lnSpc>
          <a:spcPct val="1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42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Gotham Light"/>
        </a:defRPr>
      </a:lvl8pPr>
      <a:lvl9pPr marL="0" marR="0" indent="0" algn="l" defTabSz="457200" rtl="0" latinLnBrk="0">
        <a:lnSpc>
          <a:spcPct val="1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42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Gotham Light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DCD4189-1C93-DF41-BFEC-151310B3FD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76400" y="800103"/>
            <a:ext cx="21031200" cy="11493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0" lvl="0" indent="0" algn="l" rtl="0" eaLnBrk="1" fontAlgn="base" hangingPunct="1">
              <a:lnSpc>
                <a:spcPct val="90000"/>
              </a:lnSpc>
              <a:spcBef>
                <a:spcPts val="75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BFC304B-76CA-624E-8B47-C5DB23CEC22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92190" y="12779379"/>
            <a:ext cx="1368424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>
              <a:lnSpc>
                <a:spcPct val="180000"/>
              </a:lnSpc>
              <a:spcBef>
                <a:spcPts val="0"/>
              </a:spcBef>
              <a:spcAft>
                <a:spcPts val="0"/>
              </a:spcAft>
              <a:defRPr sz="2100" kern="0" spc="32" smtClean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0B8E4057-D911-C943-B298-15EECB28EDE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1029" name="Picture 9" descr="Picture 9">
            <a:extLst>
              <a:ext uri="{FF2B5EF4-FFF2-40B4-BE49-F238E27FC236}">
                <a16:creationId xmlns:a16="http://schemas.microsoft.com/office/drawing/2014/main" id="{3669F87E-20C1-FE45-8439-C8F5F02F80D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55689" y="12082467"/>
            <a:ext cx="22218650" cy="1062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591207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8" r:id="rId3"/>
    <p:sldLayoutId id="2147483699" r:id="rId4"/>
    <p:sldLayoutId id="2147483700" r:id="rId5"/>
    <p:sldLayoutId id="2147483701" r:id="rId6"/>
    <p:sldLayoutId id="2147483702" r:id="rId7"/>
    <p:sldLayoutId id="2147483703" r:id="rId8"/>
    <p:sldLayoutId id="2147483704" r:id="rId9"/>
    <p:sldLayoutId id="2147483705" r:id="rId10"/>
    <p:sldLayoutId id="2147483706" r:id="rId11"/>
    <p:sldLayoutId id="2147483707" r:id="rId12"/>
    <p:sldLayoutId id="2147483708" r:id="rId13"/>
    <p:sldLayoutId id="2147483709" r:id="rId14"/>
    <p:sldLayoutId id="2147483710" r:id="rId15"/>
    <p:sldLayoutId id="2147483711" r:id="rId16"/>
  </p:sldLayoutIdLst>
  <p:transition>
    <p:fade/>
  </p:transition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lang="en-US" sz="4800" b="1" i="0" u="none" strike="noStrike" kern="1200" cap="all" spc="78" baseline="0" dirty="0">
          <a:ln>
            <a:noFill/>
          </a:ln>
          <a:solidFill>
            <a:srgbClr val="F1572D"/>
          </a:solidFill>
          <a:uFillTx/>
          <a:latin typeface="Arial Regular"/>
          <a:ea typeface="+mj-ea"/>
          <a:cs typeface="Arial" charset="0"/>
          <a:sym typeface="Gotham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150" b="1">
          <a:solidFill>
            <a:srgbClr val="F1572D"/>
          </a:solidFill>
          <a:latin typeface="Arial Regular"/>
          <a:cs typeface="Arial" panose="020B0604020202020204" pitchFamily="34" charset="0"/>
          <a:sym typeface="Gotham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150" b="1">
          <a:solidFill>
            <a:srgbClr val="F1572D"/>
          </a:solidFill>
          <a:latin typeface="Arial Regular"/>
          <a:cs typeface="Arial" panose="020B0604020202020204" pitchFamily="34" charset="0"/>
          <a:sym typeface="Gotham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150" b="1">
          <a:solidFill>
            <a:srgbClr val="F1572D"/>
          </a:solidFill>
          <a:latin typeface="Arial Regular"/>
          <a:cs typeface="Arial" panose="020B0604020202020204" pitchFamily="34" charset="0"/>
          <a:sym typeface="Gotham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150" b="1">
          <a:solidFill>
            <a:srgbClr val="F1572D"/>
          </a:solidFill>
          <a:latin typeface="Arial Regular"/>
          <a:cs typeface="Arial" panose="020B0604020202020204" pitchFamily="34" charset="0"/>
          <a:sym typeface="Gotham"/>
        </a:defRPr>
      </a:lvl5pPr>
      <a:lvl6pPr marL="3429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150" b="1">
          <a:solidFill>
            <a:srgbClr val="F1572D"/>
          </a:solidFill>
          <a:latin typeface="Arial Regular"/>
          <a:cs typeface="Arial" panose="020B0604020202020204" pitchFamily="34" charset="0"/>
          <a:sym typeface="Gotham"/>
        </a:defRPr>
      </a:lvl6pPr>
      <a:lvl7pPr marL="685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150" b="1">
          <a:solidFill>
            <a:srgbClr val="F1572D"/>
          </a:solidFill>
          <a:latin typeface="Arial Regular"/>
          <a:cs typeface="Arial" panose="020B0604020202020204" pitchFamily="34" charset="0"/>
          <a:sym typeface="Gotham"/>
        </a:defRPr>
      </a:lvl7pPr>
      <a:lvl8pPr marL="10287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150" b="1">
          <a:solidFill>
            <a:srgbClr val="F1572D"/>
          </a:solidFill>
          <a:latin typeface="Arial Regular"/>
          <a:cs typeface="Arial" panose="020B0604020202020204" pitchFamily="34" charset="0"/>
          <a:sym typeface="Gotham"/>
        </a:defRPr>
      </a:lvl8pPr>
      <a:lvl9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150" b="1">
          <a:solidFill>
            <a:srgbClr val="F1572D"/>
          </a:solidFill>
          <a:latin typeface="Arial Regular"/>
          <a:cs typeface="Arial" panose="020B0604020202020204" pitchFamily="34" charset="0"/>
          <a:sym typeface="Gotham"/>
        </a:defRPr>
      </a:lvl9pPr>
    </p:titleStyle>
    <p:bodyStyle>
      <a:lvl1pPr marL="171450" indent="-171450" algn="l" rtl="0" eaLnBrk="1" fontAlgn="base" hangingPunct="1">
        <a:lnSpc>
          <a:spcPct val="90000"/>
        </a:lnSpc>
        <a:spcBef>
          <a:spcPts val="75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14350" indent="-171450" algn="l" rtl="0" eaLnBrk="1" fontAlgn="base" hangingPunct="1">
        <a:lnSpc>
          <a:spcPct val="90000"/>
        </a:lnSpc>
        <a:spcBef>
          <a:spcPts val="376"/>
        </a:spcBef>
        <a:spcAft>
          <a:spcPct val="0"/>
        </a:spcAft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857250" indent="-171450" algn="l" rtl="0" eaLnBrk="1" fontAlgn="base" hangingPunct="1">
        <a:lnSpc>
          <a:spcPct val="90000"/>
        </a:lnSpc>
        <a:spcBef>
          <a:spcPts val="376"/>
        </a:spcBef>
        <a:spcAft>
          <a:spcPct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200150" indent="-171450" algn="l" rtl="0" eaLnBrk="1" fontAlgn="base" hangingPunct="1">
        <a:lnSpc>
          <a:spcPct val="90000"/>
        </a:lnSpc>
        <a:spcBef>
          <a:spcPts val="376"/>
        </a:spcBef>
        <a:spcAft>
          <a:spcPct val="0"/>
        </a:spcAft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543050" indent="-171450" algn="l" rtl="0" eaLnBrk="1" fontAlgn="base" hangingPunct="1">
        <a:lnSpc>
          <a:spcPct val="90000"/>
        </a:lnSpc>
        <a:spcBef>
          <a:spcPts val="376"/>
        </a:spcBef>
        <a:spcAft>
          <a:spcPct val="0"/>
        </a:spcAft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7"/>
            </p:custDataLst>
          </p:nvPr>
        </p:nvGraphicFramePr>
        <p:xfrm>
          <a:off x="4239" y="4239"/>
          <a:ext cx="4232" cy="423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4" imgH="344" progId="TCLayout.ActiveDocument.1">
                  <p:embed/>
                </p:oleObj>
              </mc:Choice>
              <mc:Fallback>
                <p:oleObj name="think-cell Slide" r:id="rId8" imgW="344" imgH="34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4239" y="4239"/>
                        <a:ext cx="4232" cy="423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161142" y="1400633"/>
            <a:ext cx="22174259" cy="18172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64720" y="3217928"/>
            <a:ext cx="22170683" cy="86994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9220604" y="12972148"/>
            <a:ext cx="3853544" cy="5745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133" b="0">
                <a:solidFill>
                  <a:schemeClr val="tx1"/>
                </a:solidFill>
              </a:defRPr>
            </a:lvl1pPr>
          </a:lstStyle>
          <a:p>
            <a:fld id="{F3B798F2-66A1-4CD0-B890-C77A192E30D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47697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  <p:sldLayoutId id="2147483724" r:id="rId2"/>
    <p:sldLayoutId id="2147483725" r:id="rId3"/>
    <p:sldLayoutId id="2147483726" r:id="rId4"/>
    <p:sldLayoutId id="2147483728" r:id="rId5"/>
  </p:sldLayoutIdLst>
  <p:hf hdr="0" ftr="0" dt="0"/>
  <p:txStyles>
    <p:titleStyle>
      <a:lvl1pPr algn="l" defTabSz="2438372" rtl="0" eaLnBrk="1" latinLnBrk="0" hangingPunct="1">
        <a:lnSpc>
          <a:spcPct val="90000"/>
        </a:lnSpc>
        <a:spcBef>
          <a:spcPct val="0"/>
        </a:spcBef>
        <a:buNone/>
        <a:defRPr sz="6667" b="0" i="0" kern="1200">
          <a:solidFill>
            <a:schemeClr val="bg2"/>
          </a:solidFill>
          <a:latin typeface="Arial Regular" charset="0"/>
          <a:ea typeface="Arial Regular" charset="0"/>
          <a:cs typeface="Arial Regular" charset="0"/>
        </a:defRPr>
      </a:lvl1pPr>
    </p:titleStyle>
    <p:bodyStyle>
      <a:lvl1pPr marL="0" indent="0" algn="l" defTabSz="2438372" rtl="0" eaLnBrk="1" latinLnBrk="0" hangingPunct="1">
        <a:lnSpc>
          <a:spcPct val="90000"/>
        </a:lnSpc>
        <a:spcBef>
          <a:spcPts val="2667"/>
        </a:spcBef>
        <a:buFont typeface="Arial" panose="020B0604020202020204" pitchFamily="34" charset="0"/>
        <a:buNone/>
        <a:defRPr sz="4267" b="0" i="0" kern="1200">
          <a:solidFill>
            <a:schemeClr val="tx1"/>
          </a:solidFill>
          <a:latin typeface="Arial Regular" charset="0"/>
          <a:ea typeface="Arial Regular" charset="0"/>
          <a:cs typeface="Arial Regular" charset="0"/>
        </a:defRPr>
      </a:lvl1pPr>
      <a:lvl2pPr marL="1828778" indent="-609592" algn="l" defTabSz="2438372" rtl="0" eaLnBrk="1" latinLnBrk="0" hangingPunct="1">
        <a:lnSpc>
          <a:spcPct val="90000"/>
        </a:lnSpc>
        <a:spcBef>
          <a:spcPts val="1333"/>
        </a:spcBef>
        <a:buFont typeface="Arial" panose="020B0604020202020204" pitchFamily="34" charset="0"/>
        <a:buChar char="•"/>
        <a:defRPr sz="2933" b="0" i="0" kern="1200">
          <a:solidFill>
            <a:schemeClr val="tx1"/>
          </a:solidFill>
          <a:latin typeface="Arial Regular" charset="0"/>
          <a:ea typeface="Arial Regular" charset="0"/>
          <a:cs typeface="Arial Regular" charset="0"/>
        </a:defRPr>
      </a:lvl2pPr>
      <a:lvl3pPr marL="3047963" indent="-609592" algn="l" defTabSz="2438372" rtl="0" eaLnBrk="1" latinLnBrk="0" hangingPunct="1">
        <a:lnSpc>
          <a:spcPct val="90000"/>
        </a:lnSpc>
        <a:spcBef>
          <a:spcPts val="1333"/>
        </a:spcBef>
        <a:buFontTx/>
        <a:buChar char="−"/>
        <a:defRPr sz="2933" b="0" i="0" kern="1200">
          <a:solidFill>
            <a:schemeClr val="tx1"/>
          </a:solidFill>
          <a:latin typeface="Arial Regular" charset="0"/>
          <a:ea typeface="Arial Regular" charset="0"/>
          <a:cs typeface="Arial Regular" charset="0"/>
        </a:defRPr>
      </a:lvl3pPr>
      <a:lvl4pPr marL="4267147" indent="-609592" algn="l" defTabSz="2438372" rtl="0" eaLnBrk="1" latinLnBrk="0" hangingPunct="1">
        <a:lnSpc>
          <a:spcPct val="90000"/>
        </a:lnSpc>
        <a:spcBef>
          <a:spcPts val="1333"/>
        </a:spcBef>
        <a:buFont typeface="Courier New" panose="02070309020205020404" pitchFamily="49" charset="0"/>
        <a:buChar char="o"/>
        <a:defRPr sz="2933" b="0" i="0" kern="1200">
          <a:solidFill>
            <a:schemeClr val="tx1"/>
          </a:solidFill>
          <a:latin typeface="Arial Regular" charset="0"/>
          <a:ea typeface="Arial Regular" charset="0"/>
          <a:cs typeface="Arial Regular" charset="0"/>
        </a:defRPr>
      </a:lvl4pPr>
      <a:lvl5pPr marL="5486330" indent="-609592" algn="l" defTabSz="2438372" rtl="0" eaLnBrk="1" latinLnBrk="0" hangingPunct="1">
        <a:lnSpc>
          <a:spcPct val="90000"/>
        </a:lnSpc>
        <a:spcBef>
          <a:spcPts val="1333"/>
        </a:spcBef>
        <a:buFont typeface="Wingdings" panose="05000000000000000000" pitchFamily="2" charset="2"/>
        <a:buChar char="§"/>
        <a:defRPr sz="2933" b="0" i="0" kern="1200">
          <a:solidFill>
            <a:schemeClr val="tx1"/>
          </a:solidFill>
          <a:latin typeface="Arial Regular" charset="0"/>
          <a:ea typeface="Arial Regular" charset="0"/>
          <a:cs typeface="Arial Regular" charset="0"/>
        </a:defRPr>
      </a:lvl5pPr>
      <a:lvl6pPr marL="6705516" indent="-609592" algn="l" defTabSz="2438372" rtl="0" eaLnBrk="1" latinLnBrk="0" hangingPunct="1">
        <a:lnSpc>
          <a:spcPct val="90000"/>
        </a:lnSpc>
        <a:spcBef>
          <a:spcPts val="1333"/>
        </a:spcBef>
        <a:buFont typeface="Arial" panose="020B0604020202020204" pitchFamily="34" charset="0"/>
        <a:buChar char="•"/>
        <a:defRPr sz="4800" kern="1200">
          <a:solidFill>
            <a:schemeClr val="tx1"/>
          </a:solidFill>
          <a:latin typeface="+mn-lt"/>
          <a:ea typeface="+mn-ea"/>
          <a:cs typeface="+mn-cs"/>
        </a:defRPr>
      </a:lvl6pPr>
      <a:lvl7pPr marL="7924702" indent="-609592" algn="l" defTabSz="2438372" rtl="0" eaLnBrk="1" latinLnBrk="0" hangingPunct="1">
        <a:lnSpc>
          <a:spcPct val="90000"/>
        </a:lnSpc>
        <a:spcBef>
          <a:spcPts val="1333"/>
        </a:spcBef>
        <a:buFont typeface="Arial" panose="020B0604020202020204" pitchFamily="34" charset="0"/>
        <a:buChar char="•"/>
        <a:defRPr sz="4800" kern="1200">
          <a:solidFill>
            <a:schemeClr val="tx1"/>
          </a:solidFill>
          <a:latin typeface="+mn-lt"/>
          <a:ea typeface="+mn-ea"/>
          <a:cs typeface="+mn-cs"/>
        </a:defRPr>
      </a:lvl7pPr>
      <a:lvl8pPr marL="9143888" indent="-609592" algn="l" defTabSz="2438372" rtl="0" eaLnBrk="1" latinLnBrk="0" hangingPunct="1">
        <a:lnSpc>
          <a:spcPct val="90000"/>
        </a:lnSpc>
        <a:spcBef>
          <a:spcPts val="1333"/>
        </a:spcBef>
        <a:buFont typeface="Arial" panose="020B0604020202020204" pitchFamily="34" charset="0"/>
        <a:buChar char="•"/>
        <a:defRPr sz="4800" kern="1200">
          <a:solidFill>
            <a:schemeClr val="tx1"/>
          </a:solidFill>
          <a:latin typeface="+mn-lt"/>
          <a:ea typeface="+mn-ea"/>
          <a:cs typeface="+mn-cs"/>
        </a:defRPr>
      </a:lvl8pPr>
      <a:lvl9pPr marL="10363071" indent="-609592" algn="l" defTabSz="2438372" rtl="0" eaLnBrk="1" latinLnBrk="0" hangingPunct="1">
        <a:lnSpc>
          <a:spcPct val="90000"/>
        </a:lnSpc>
        <a:spcBef>
          <a:spcPts val="1333"/>
        </a:spcBef>
        <a:buFont typeface="Arial" panose="020B0604020202020204" pitchFamily="34" charset="0"/>
        <a:buChar char="•"/>
        <a:defRPr sz="4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2438372" rtl="0" eaLnBrk="1" latinLnBrk="0" hangingPunct="1">
        <a:defRPr sz="4800" kern="1200">
          <a:solidFill>
            <a:schemeClr val="tx1"/>
          </a:solidFill>
          <a:latin typeface="+mn-lt"/>
          <a:ea typeface="+mn-ea"/>
          <a:cs typeface="+mn-cs"/>
        </a:defRPr>
      </a:lvl1pPr>
      <a:lvl2pPr marL="1219186" algn="l" defTabSz="2438372" rtl="0" eaLnBrk="1" latinLnBrk="0" hangingPunct="1">
        <a:defRPr sz="4800" kern="1200">
          <a:solidFill>
            <a:schemeClr val="tx1"/>
          </a:solidFill>
          <a:latin typeface="+mn-lt"/>
          <a:ea typeface="+mn-ea"/>
          <a:cs typeface="+mn-cs"/>
        </a:defRPr>
      </a:lvl2pPr>
      <a:lvl3pPr marL="2438372" algn="l" defTabSz="2438372" rtl="0" eaLnBrk="1" latinLnBrk="0" hangingPunct="1">
        <a:defRPr sz="4800" kern="1200">
          <a:solidFill>
            <a:schemeClr val="tx1"/>
          </a:solidFill>
          <a:latin typeface="+mn-lt"/>
          <a:ea typeface="+mn-ea"/>
          <a:cs typeface="+mn-cs"/>
        </a:defRPr>
      </a:lvl3pPr>
      <a:lvl4pPr marL="3657555" algn="l" defTabSz="2438372" rtl="0" eaLnBrk="1" latinLnBrk="0" hangingPunct="1">
        <a:defRPr sz="4800" kern="1200">
          <a:solidFill>
            <a:schemeClr val="tx1"/>
          </a:solidFill>
          <a:latin typeface="+mn-lt"/>
          <a:ea typeface="+mn-ea"/>
          <a:cs typeface="+mn-cs"/>
        </a:defRPr>
      </a:lvl4pPr>
      <a:lvl5pPr marL="4876738" algn="l" defTabSz="2438372" rtl="0" eaLnBrk="1" latinLnBrk="0" hangingPunct="1">
        <a:defRPr sz="4800" kern="1200">
          <a:solidFill>
            <a:schemeClr val="tx1"/>
          </a:solidFill>
          <a:latin typeface="+mn-lt"/>
          <a:ea typeface="+mn-ea"/>
          <a:cs typeface="+mn-cs"/>
        </a:defRPr>
      </a:lvl5pPr>
      <a:lvl6pPr marL="6095924" algn="l" defTabSz="2438372" rtl="0" eaLnBrk="1" latinLnBrk="0" hangingPunct="1">
        <a:defRPr sz="4800" kern="1200">
          <a:solidFill>
            <a:schemeClr val="tx1"/>
          </a:solidFill>
          <a:latin typeface="+mn-lt"/>
          <a:ea typeface="+mn-ea"/>
          <a:cs typeface="+mn-cs"/>
        </a:defRPr>
      </a:lvl6pPr>
      <a:lvl7pPr marL="7315110" algn="l" defTabSz="2438372" rtl="0" eaLnBrk="1" latinLnBrk="0" hangingPunct="1">
        <a:defRPr sz="4800" kern="1200">
          <a:solidFill>
            <a:schemeClr val="tx1"/>
          </a:solidFill>
          <a:latin typeface="+mn-lt"/>
          <a:ea typeface="+mn-ea"/>
          <a:cs typeface="+mn-cs"/>
        </a:defRPr>
      </a:lvl7pPr>
      <a:lvl8pPr marL="8534293" algn="l" defTabSz="2438372" rtl="0" eaLnBrk="1" latinLnBrk="0" hangingPunct="1">
        <a:defRPr sz="4800" kern="1200">
          <a:solidFill>
            <a:schemeClr val="tx1"/>
          </a:solidFill>
          <a:latin typeface="+mn-lt"/>
          <a:ea typeface="+mn-ea"/>
          <a:cs typeface="+mn-cs"/>
        </a:defRPr>
      </a:lvl8pPr>
      <a:lvl9pPr marL="9753479" algn="l" defTabSz="2438372" rtl="0" eaLnBrk="1" latinLnBrk="0" hangingPunct="1">
        <a:defRPr sz="4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215">
          <p15:clr>
            <a:srgbClr val="F26B43"/>
          </p15:clr>
        </p15:guide>
        <p15:guide id="2" pos="2160">
          <p15:clr>
            <a:srgbClr val="F26B43"/>
          </p15:clr>
        </p15:guide>
        <p15:guide id="3" pos="216">
          <p15:clr>
            <a:srgbClr val="F26B43"/>
          </p15:clr>
        </p15:guide>
        <p15:guide id="4" orient="horz" pos="243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7"/>
            </p:custDataLst>
          </p:nvPr>
        </p:nvGraphicFramePr>
        <p:xfrm>
          <a:off x="4239" y="4239"/>
          <a:ext cx="4232" cy="423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4" imgH="344" progId="TCLayout.ActiveDocument.1">
                  <p:embed/>
                </p:oleObj>
              </mc:Choice>
              <mc:Fallback>
                <p:oleObj name="think-cell Slide" r:id="rId8" imgW="344" imgH="34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4239" y="4239"/>
                        <a:ext cx="4232" cy="423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161142" y="1400633"/>
            <a:ext cx="22174259" cy="18172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64720" y="3217928"/>
            <a:ext cx="22170683" cy="86994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9220604" y="12972148"/>
            <a:ext cx="3853544" cy="5745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133" b="0">
                <a:solidFill>
                  <a:schemeClr val="tx1"/>
                </a:solidFill>
              </a:defRPr>
            </a:lvl1pPr>
          </a:lstStyle>
          <a:p>
            <a:fld id="{F3B798F2-66A1-4CD0-B890-C77A192E30D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63214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31" r:id="rId2"/>
    <p:sldLayoutId id="2147483732" r:id="rId3"/>
    <p:sldLayoutId id="2147483733" r:id="rId4"/>
    <p:sldLayoutId id="2147483735" r:id="rId5"/>
  </p:sldLayoutIdLst>
  <p:hf hdr="0" ftr="0" dt="0"/>
  <p:txStyles>
    <p:titleStyle>
      <a:lvl1pPr algn="l" defTabSz="2438372" rtl="0" eaLnBrk="1" latinLnBrk="0" hangingPunct="1">
        <a:lnSpc>
          <a:spcPct val="90000"/>
        </a:lnSpc>
        <a:spcBef>
          <a:spcPct val="0"/>
        </a:spcBef>
        <a:buNone/>
        <a:defRPr sz="6667" b="0" i="0" kern="1200">
          <a:solidFill>
            <a:schemeClr val="bg2"/>
          </a:solidFill>
          <a:latin typeface="Arial Regular" charset="0"/>
          <a:ea typeface="Arial Regular" charset="0"/>
          <a:cs typeface="Arial Regular" charset="0"/>
        </a:defRPr>
      </a:lvl1pPr>
    </p:titleStyle>
    <p:bodyStyle>
      <a:lvl1pPr marL="0" indent="0" algn="l" defTabSz="2438372" rtl="0" eaLnBrk="1" latinLnBrk="0" hangingPunct="1">
        <a:lnSpc>
          <a:spcPct val="90000"/>
        </a:lnSpc>
        <a:spcBef>
          <a:spcPts val="2667"/>
        </a:spcBef>
        <a:buFont typeface="Arial" panose="020B0604020202020204" pitchFamily="34" charset="0"/>
        <a:buNone/>
        <a:defRPr sz="4267" b="0" i="0" kern="1200">
          <a:solidFill>
            <a:schemeClr val="tx1"/>
          </a:solidFill>
          <a:latin typeface="Arial Regular" charset="0"/>
          <a:ea typeface="Arial Regular" charset="0"/>
          <a:cs typeface="Arial Regular" charset="0"/>
        </a:defRPr>
      </a:lvl1pPr>
      <a:lvl2pPr marL="1828778" indent="-609592" algn="l" defTabSz="2438372" rtl="0" eaLnBrk="1" latinLnBrk="0" hangingPunct="1">
        <a:lnSpc>
          <a:spcPct val="90000"/>
        </a:lnSpc>
        <a:spcBef>
          <a:spcPts val="1333"/>
        </a:spcBef>
        <a:buFont typeface="Arial" panose="020B0604020202020204" pitchFamily="34" charset="0"/>
        <a:buChar char="•"/>
        <a:defRPr sz="2933" b="0" i="0" kern="1200">
          <a:solidFill>
            <a:schemeClr val="tx1"/>
          </a:solidFill>
          <a:latin typeface="Arial Regular" charset="0"/>
          <a:ea typeface="Arial Regular" charset="0"/>
          <a:cs typeface="Arial Regular" charset="0"/>
        </a:defRPr>
      </a:lvl2pPr>
      <a:lvl3pPr marL="3047963" indent="-609592" algn="l" defTabSz="2438372" rtl="0" eaLnBrk="1" latinLnBrk="0" hangingPunct="1">
        <a:lnSpc>
          <a:spcPct val="90000"/>
        </a:lnSpc>
        <a:spcBef>
          <a:spcPts val="1333"/>
        </a:spcBef>
        <a:buFontTx/>
        <a:buChar char="−"/>
        <a:defRPr sz="2933" b="0" i="0" kern="1200">
          <a:solidFill>
            <a:schemeClr val="tx1"/>
          </a:solidFill>
          <a:latin typeface="Arial Regular" charset="0"/>
          <a:ea typeface="Arial Regular" charset="0"/>
          <a:cs typeface="Arial Regular" charset="0"/>
        </a:defRPr>
      </a:lvl3pPr>
      <a:lvl4pPr marL="4267147" indent="-609592" algn="l" defTabSz="2438372" rtl="0" eaLnBrk="1" latinLnBrk="0" hangingPunct="1">
        <a:lnSpc>
          <a:spcPct val="90000"/>
        </a:lnSpc>
        <a:spcBef>
          <a:spcPts val="1333"/>
        </a:spcBef>
        <a:buFont typeface="Courier New" panose="02070309020205020404" pitchFamily="49" charset="0"/>
        <a:buChar char="o"/>
        <a:defRPr sz="2933" b="0" i="0" kern="1200">
          <a:solidFill>
            <a:schemeClr val="tx1"/>
          </a:solidFill>
          <a:latin typeface="Arial Regular" charset="0"/>
          <a:ea typeface="Arial Regular" charset="0"/>
          <a:cs typeface="Arial Regular" charset="0"/>
        </a:defRPr>
      </a:lvl4pPr>
      <a:lvl5pPr marL="5486330" indent="-609592" algn="l" defTabSz="2438372" rtl="0" eaLnBrk="1" latinLnBrk="0" hangingPunct="1">
        <a:lnSpc>
          <a:spcPct val="90000"/>
        </a:lnSpc>
        <a:spcBef>
          <a:spcPts val="1333"/>
        </a:spcBef>
        <a:buFont typeface="Wingdings" panose="05000000000000000000" pitchFamily="2" charset="2"/>
        <a:buChar char="§"/>
        <a:defRPr sz="2933" b="0" i="0" kern="1200">
          <a:solidFill>
            <a:schemeClr val="tx1"/>
          </a:solidFill>
          <a:latin typeface="Arial Regular" charset="0"/>
          <a:ea typeface="Arial Regular" charset="0"/>
          <a:cs typeface="Arial Regular" charset="0"/>
        </a:defRPr>
      </a:lvl5pPr>
      <a:lvl6pPr marL="6705516" indent="-609592" algn="l" defTabSz="2438372" rtl="0" eaLnBrk="1" latinLnBrk="0" hangingPunct="1">
        <a:lnSpc>
          <a:spcPct val="90000"/>
        </a:lnSpc>
        <a:spcBef>
          <a:spcPts val="1333"/>
        </a:spcBef>
        <a:buFont typeface="Arial" panose="020B0604020202020204" pitchFamily="34" charset="0"/>
        <a:buChar char="•"/>
        <a:defRPr sz="4800" kern="1200">
          <a:solidFill>
            <a:schemeClr val="tx1"/>
          </a:solidFill>
          <a:latin typeface="+mn-lt"/>
          <a:ea typeface="+mn-ea"/>
          <a:cs typeface="+mn-cs"/>
        </a:defRPr>
      </a:lvl6pPr>
      <a:lvl7pPr marL="7924702" indent="-609592" algn="l" defTabSz="2438372" rtl="0" eaLnBrk="1" latinLnBrk="0" hangingPunct="1">
        <a:lnSpc>
          <a:spcPct val="90000"/>
        </a:lnSpc>
        <a:spcBef>
          <a:spcPts val="1333"/>
        </a:spcBef>
        <a:buFont typeface="Arial" panose="020B0604020202020204" pitchFamily="34" charset="0"/>
        <a:buChar char="•"/>
        <a:defRPr sz="4800" kern="1200">
          <a:solidFill>
            <a:schemeClr val="tx1"/>
          </a:solidFill>
          <a:latin typeface="+mn-lt"/>
          <a:ea typeface="+mn-ea"/>
          <a:cs typeface="+mn-cs"/>
        </a:defRPr>
      </a:lvl7pPr>
      <a:lvl8pPr marL="9143888" indent="-609592" algn="l" defTabSz="2438372" rtl="0" eaLnBrk="1" latinLnBrk="0" hangingPunct="1">
        <a:lnSpc>
          <a:spcPct val="90000"/>
        </a:lnSpc>
        <a:spcBef>
          <a:spcPts val="1333"/>
        </a:spcBef>
        <a:buFont typeface="Arial" panose="020B0604020202020204" pitchFamily="34" charset="0"/>
        <a:buChar char="•"/>
        <a:defRPr sz="4800" kern="1200">
          <a:solidFill>
            <a:schemeClr val="tx1"/>
          </a:solidFill>
          <a:latin typeface="+mn-lt"/>
          <a:ea typeface="+mn-ea"/>
          <a:cs typeface="+mn-cs"/>
        </a:defRPr>
      </a:lvl8pPr>
      <a:lvl9pPr marL="10363071" indent="-609592" algn="l" defTabSz="2438372" rtl="0" eaLnBrk="1" latinLnBrk="0" hangingPunct="1">
        <a:lnSpc>
          <a:spcPct val="90000"/>
        </a:lnSpc>
        <a:spcBef>
          <a:spcPts val="1333"/>
        </a:spcBef>
        <a:buFont typeface="Arial" panose="020B0604020202020204" pitchFamily="34" charset="0"/>
        <a:buChar char="•"/>
        <a:defRPr sz="4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2438372" rtl="0" eaLnBrk="1" latinLnBrk="0" hangingPunct="1">
        <a:defRPr sz="4800" kern="1200">
          <a:solidFill>
            <a:schemeClr val="tx1"/>
          </a:solidFill>
          <a:latin typeface="+mn-lt"/>
          <a:ea typeface="+mn-ea"/>
          <a:cs typeface="+mn-cs"/>
        </a:defRPr>
      </a:lvl1pPr>
      <a:lvl2pPr marL="1219186" algn="l" defTabSz="2438372" rtl="0" eaLnBrk="1" latinLnBrk="0" hangingPunct="1">
        <a:defRPr sz="4800" kern="1200">
          <a:solidFill>
            <a:schemeClr val="tx1"/>
          </a:solidFill>
          <a:latin typeface="+mn-lt"/>
          <a:ea typeface="+mn-ea"/>
          <a:cs typeface="+mn-cs"/>
        </a:defRPr>
      </a:lvl2pPr>
      <a:lvl3pPr marL="2438372" algn="l" defTabSz="2438372" rtl="0" eaLnBrk="1" latinLnBrk="0" hangingPunct="1">
        <a:defRPr sz="4800" kern="1200">
          <a:solidFill>
            <a:schemeClr val="tx1"/>
          </a:solidFill>
          <a:latin typeface="+mn-lt"/>
          <a:ea typeface="+mn-ea"/>
          <a:cs typeface="+mn-cs"/>
        </a:defRPr>
      </a:lvl3pPr>
      <a:lvl4pPr marL="3657555" algn="l" defTabSz="2438372" rtl="0" eaLnBrk="1" latinLnBrk="0" hangingPunct="1">
        <a:defRPr sz="4800" kern="1200">
          <a:solidFill>
            <a:schemeClr val="tx1"/>
          </a:solidFill>
          <a:latin typeface="+mn-lt"/>
          <a:ea typeface="+mn-ea"/>
          <a:cs typeface="+mn-cs"/>
        </a:defRPr>
      </a:lvl4pPr>
      <a:lvl5pPr marL="4876738" algn="l" defTabSz="2438372" rtl="0" eaLnBrk="1" latinLnBrk="0" hangingPunct="1">
        <a:defRPr sz="4800" kern="1200">
          <a:solidFill>
            <a:schemeClr val="tx1"/>
          </a:solidFill>
          <a:latin typeface="+mn-lt"/>
          <a:ea typeface="+mn-ea"/>
          <a:cs typeface="+mn-cs"/>
        </a:defRPr>
      </a:lvl5pPr>
      <a:lvl6pPr marL="6095924" algn="l" defTabSz="2438372" rtl="0" eaLnBrk="1" latinLnBrk="0" hangingPunct="1">
        <a:defRPr sz="4800" kern="1200">
          <a:solidFill>
            <a:schemeClr val="tx1"/>
          </a:solidFill>
          <a:latin typeface="+mn-lt"/>
          <a:ea typeface="+mn-ea"/>
          <a:cs typeface="+mn-cs"/>
        </a:defRPr>
      </a:lvl6pPr>
      <a:lvl7pPr marL="7315110" algn="l" defTabSz="2438372" rtl="0" eaLnBrk="1" latinLnBrk="0" hangingPunct="1">
        <a:defRPr sz="4800" kern="1200">
          <a:solidFill>
            <a:schemeClr val="tx1"/>
          </a:solidFill>
          <a:latin typeface="+mn-lt"/>
          <a:ea typeface="+mn-ea"/>
          <a:cs typeface="+mn-cs"/>
        </a:defRPr>
      </a:lvl7pPr>
      <a:lvl8pPr marL="8534293" algn="l" defTabSz="2438372" rtl="0" eaLnBrk="1" latinLnBrk="0" hangingPunct="1">
        <a:defRPr sz="4800" kern="1200">
          <a:solidFill>
            <a:schemeClr val="tx1"/>
          </a:solidFill>
          <a:latin typeface="+mn-lt"/>
          <a:ea typeface="+mn-ea"/>
          <a:cs typeface="+mn-cs"/>
        </a:defRPr>
      </a:lvl8pPr>
      <a:lvl9pPr marL="9753479" algn="l" defTabSz="2438372" rtl="0" eaLnBrk="1" latinLnBrk="0" hangingPunct="1">
        <a:defRPr sz="4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215">
          <p15:clr>
            <a:srgbClr val="F26B43"/>
          </p15:clr>
        </p15:guide>
        <p15:guide id="2" pos="2160">
          <p15:clr>
            <a:srgbClr val="F26B43"/>
          </p15:clr>
        </p15:guide>
        <p15:guide id="3" pos="216">
          <p15:clr>
            <a:srgbClr val="F26B43"/>
          </p15:clr>
        </p15:guide>
        <p15:guide id="4" orient="horz" pos="24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svg"/><Relationship Id="rId3" Type="http://schemas.openxmlformats.org/officeDocument/2006/relationships/image" Target="../media/image26.png"/><Relationship Id="rId7" Type="http://schemas.openxmlformats.org/officeDocument/2006/relationships/image" Target="../media/image30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29.svg"/><Relationship Id="rId5" Type="http://schemas.openxmlformats.org/officeDocument/2006/relationships/image" Target="../media/image28.png"/><Relationship Id="rId10" Type="http://schemas.openxmlformats.org/officeDocument/2006/relationships/image" Target="../media/image33.svg"/><Relationship Id="rId4" Type="http://schemas.openxmlformats.org/officeDocument/2006/relationships/image" Target="../media/image27.svg"/><Relationship Id="rId9" Type="http://schemas.openxmlformats.org/officeDocument/2006/relationships/image" Target="../media/image32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6E60AEA-B2DB-4094-A6A6-FF572F5DFA2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133745" y="4178378"/>
            <a:ext cx="16800675" cy="4034947"/>
          </a:xfrm>
        </p:spPr>
        <p:txBody>
          <a:bodyPr/>
          <a:lstStyle/>
          <a:p>
            <a:r>
              <a:rPr lang="en-US" sz="8000" b="1" dirty="0">
                <a:solidFill>
                  <a:schemeClr val="tx1"/>
                </a:solidFill>
              </a:rPr>
              <a:t>Why NAMA?</a:t>
            </a:r>
          </a:p>
          <a:p>
            <a:endParaRPr lang="en-US" sz="5400" i="1" dirty="0">
              <a:solidFill>
                <a:schemeClr val="tx1"/>
              </a:solidFill>
            </a:endParaRPr>
          </a:p>
          <a:p>
            <a:endParaRPr lang="en-US" sz="4800" b="0" i="1" dirty="0">
              <a:solidFill>
                <a:schemeClr val="tx1"/>
              </a:solidFill>
            </a:endParaRPr>
          </a:p>
          <a:p>
            <a:r>
              <a:rPr lang="en-US" sz="4800" b="0" i="1" dirty="0">
                <a:solidFill>
                  <a:schemeClr val="tx1"/>
                </a:solidFill>
              </a:rPr>
              <a:t>Your name, Your NAMA Role</a:t>
            </a:r>
          </a:p>
          <a:p>
            <a:r>
              <a:rPr lang="en-US" sz="4800" i="1" dirty="0">
                <a:solidFill>
                  <a:schemeClr val="tx1"/>
                </a:solidFill>
              </a:rPr>
              <a:t>Date, 2022</a:t>
            </a:r>
            <a:endParaRPr lang="en-US" sz="4800" b="0" i="1" dirty="0">
              <a:solidFill>
                <a:schemeClr val="tx1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3DD391E-F156-4BF8-A78A-D95100196926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>
          <a:xfrm>
            <a:off x="22982729" y="517294"/>
            <a:ext cx="420564" cy="333425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r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1" i="0" u="none" strike="noStrike" cap="all" spc="214" normalizeH="0" baseline="0">
                <a:ln>
                  <a:noFill/>
                </a:ln>
                <a:solidFill>
                  <a:srgbClr val="D5D5D5"/>
                </a:solidFill>
                <a:effectLst/>
                <a:uFillTx/>
                <a:latin typeface="Arial" charset="0"/>
                <a:ea typeface="Arial" charset="0"/>
                <a:cs typeface="Arial" charset="0"/>
                <a:sym typeface="DIN Next LT Pro"/>
              </a:defRPr>
            </a:lvl1pPr>
            <a:lvl2pPr marL="0" marR="0" indent="0" algn="l" defTabSz="457200" rtl="0" fontAlgn="auto" latinLnBrk="0" hangingPunct="0">
              <a:lnSpc>
                <a:spcPct val="1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200" b="0" i="0" u="none" strike="noStrike" cap="none" spc="42" normalizeH="0" baseline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Gotham Light"/>
                <a:ea typeface="Gotham Light"/>
                <a:cs typeface="Gotham Light"/>
                <a:sym typeface="Gotham Light"/>
              </a:defRPr>
            </a:lvl2pPr>
            <a:lvl3pPr marL="0" marR="0" indent="0" algn="l" defTabSz="457200" rtl="0" fontAlgn="auto" latinLnBrk="0" hangingPunct="0">
              <a:lnSpc>
                <a:spcPct val="1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200" b="0" i="0" u="none" strike="noStrike" cap="none" spc="42" normalizeH="0" baseline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Gotham Light"/>
                <a:ea typeface="Gotham Light"/>
                <a:cs typeface="Gotham Light"/>
                <a:sym typeface="Gotham Light"/>
              </a:defRPr>
            </a:lvl3pPr>
            <a:lvl4pPr marL="0" marR="0" indent="0" algn="l" defTabSz="457200" rtl="0" fontAlgn="auto" latinLnBrk="0" hangingPunct="0">
              <a:lnSpc>
                <a:spcPct val="1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200" b="0" i="0" u="none" strike="noStrike" cap="none" spc="42" normalizeH="0" baseline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Gotham Light"/>
                <a:ea typeface="Gotham Light"/>
                <a:cs typeface="Gotham Light"/>
                <a:sym typeface="Gotham Light"/>
              </a:defRPr>
            </a:lvl4pPr>
            <a:lvl5pPr marL="0" marR="0" indent="0" algn="l" defTabSz="457200" rtl="0" fontAlgn="auto" latinLnBrk="0" hangingPunct="0">
              <a:lnSpc>
                <a:spcPct val="1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200" b="0" i="0" u="none" strike="noStrike" cap="none" spc="42" normalizeH="0" baseline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Gotham Light"/>
                <a:ea typeface="Gotham Light"/>
                <a:cs typeface="Gotham Light"/>
                <a:sym typeface="Gotham Light"/>
              </a:defRPr>
            </a:lvl5pPr>
            <a:lvl6pPr marL="0" marR="0" indent="0" algn="l" defTabSz="457200" rtl="0" fontAlgn="auto" latinLnBrk="0" hangingPunct="0">
              <a:lnSpc>
                <a:spcPct val="1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200" b="0" i="0" u="none" strike="noStrike" cap="none" spc="42" normalizeH="0" baseline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Gotham Light"/>
                <a:ea typeface="Gotham Light"/>
                <a:cs typeface="Gotham Light"/>
                <a:sym typeface="Gotham Light"/>
              </a:defRPr>
            </a:lvl6pPr>
            <a:lvl7pPr marL="0" marR="0" indent="0" algn="l" defTabSz="457200" rtl="0" fontAlgn="auto" latinLnBrk="0" hangingPunct="0">
              <a:lnSpc>
                <a:spcPct val="1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200" b="0" i="0" u="none" strike="noStrike" cap="none" spc="42" normalizeH="0" baseline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Gotham Light"/>
                <a:ea typeface="Gotham Light"/>
                <a:cs typeface="Gotham Light"/>
                <a:sym typeface="Gotham Light"/>
              </a:defRPr>
            </a:lvl7pPr>
            <a:lvl8pPr marL="0" marR="0" indent="0" algn="l" defTabSz="457200" rtl="0" fontAlgn="auto" latinLnBrk="0" hangingPunct="0">
              <a:lnSpc>
                <a:spcPct val="1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200" b="0" i="0" u="none" strike="noStrike" cap="none" spc="42" normalizeH="0" baseline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Gotham Light"/>
                <a:ea typeface="Gotham Light"/>
                <a:cs typeface="Gotham Light"/>
                <a:sym typeface="Gotham Light"/>
              </a:defRPr>
            </a:lvl8pPr>
            <a:lvl9pPr marL="0" marR="0" indent="0" algn="l" defTabSz="457200" rtl="0" fontAlgn="auto" latinLnBrk="0" hangingPunct="0">
              <a:lnSpc>
                <a:spcPct val="1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200" b="0" i="0" u="none" strike="noStrike" cap="none" spc="42" normalizeH="0" baseline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Gotham Light"/>
                <a:ea typeface="Gotham Light"/>
                <a:cs typeface="Gotham Light"/>
                <a:sym typeface="Gotham Light"/>
              </a:defRPr>
            </a:lvl9pPr>
          </a:lstStyle>
          <a:p>
            <a:fld id="{86CB4B4D-7CA3-9044-876B-883B54F8677D}" type="slidenum">
              <a:rPr lang="uk-UA" smtClean="0"/>
              <a:pPr/>
              <a:t>1</a:t>
            </a:fld>
            <a:endParaRPr lang="uk-UA"/>
          </a:p>
        </p:txBody>
      </p:sp>
      <p:pic>
        <p:nvPicPr>
          <p:cNvPr id="9218" name="Picture 2" descr="nama-logo · | Reel Chicago - At the intersection of Chicago Advertising,  Entertainment, Media and Production">
            <a:extLst>
              <a:ext uri="{FF2B5EF4-FFF2-40B4-BE49-F238E27FC236}">
                <a16:creationId xmlns:a16="http://schemas.microsoft.com/office/drawing/2014/main" id="{DD3C9A34-04AE-024A-8D74-B88370754D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8540" y="3860800"/>
            <a:ext cx="4071620" cy="44901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70438840"/>
      </p:ext>
    </p:extLst>
  </p:cSld>
  <p:clrMapOvr>
    <a:masterClrMapping/>
  </p:clrMapOvr>
  <p:transition spd="med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NAMA rebrand powerpoint.pdf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75" y="1786"/>
            <a:ext cx="24377650" cy="13712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674562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NAMA PP Slides_Page_08.jp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74" y="1786"/>
            <a:ext cx="24371556" cy="13712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437933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F7FF7E6D-D187-DD4B-B52E-F6D17FE93106}"/>
              </a:ext>
            </a:extLst>
          </p:cNvPr>
          <p:cNvSpPr txBox="1"/>
          <p:nvPr/>
        </p:nvSpPr>
        <p:spPr>
          <a:xfrm>
            <a:off x="792480" y="11826240"/>
            <a:ext cx="22981920" cy="1676400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l" defTabSz="457200" rtl="0" fontAlgn="auto" latinLnBrk="0" hangingPunct="0">
              <a:lnSpc>
                <a:spcPct val="1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4200" b="0" i="0" u="none" strike="noStrike" cap="none" spc="42" normalizeH="0" baseline="0" dirty="0">
              <a:ln>
                <a:noFill/>
              </a:ln>
              <a:solidFill>
                <a:srgbClr val="5E5E5E"/>
              </a:solidFill>
              <a:effectLst/>
              <a:uFillTx/>
              <a:latin typeface="Gotham Light"/>
              <a:ea typeface="Gotham Light"/>
              <a:cs typeface="Gotham Light"/>
              <a:sym typeface="Gotham Light"/>
            </a:endParaRPr>
          </a:p>
        </p:txBody>
      </p:sp>
      <p:pic>
        <p:nvPicPr>
          <p:cNvPr id="5" name="Picture 4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48F60C71-DDF5-F145-90EF-987CB87C1910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3214"/>
          <a:stretch/>
        </p:blipFill>
        <p:spPr>
          <a:xfrm>
            <a:off x="0" y="2111423"/>
            <a:ext cx="24384000" cy="11573574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DFE2DEDF-614E-4CD4-B1CB-A74B9D25534C}"/>
              </a:ext>
            </a:extLst>
          </p:cNvPr>
          <p:cNvSpPr txBox="1"/>
          <p:nvPr/>
        </p:nvSpPr>
        <p:spPr>
          <a:xfrm>
            <a:off x="1026622" y="527448"/>
            <a:ext cx="12194770" cy="139698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marL="0" marR="0" indent="0" algn="l" defTabSz="457200" rtl="0" fontAlgn="auto" latinLnBrk="0" hangingPunct="0">
              <a:lnSpc>
                <a:spcPct val="1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5400" b="0" i="0" u="none" strike="noStrike" cap="none" spc="42" normalizeH="0" baseline="0" dirty="0">
                <a:ln>
                  <a:noFill/>
                </a:ln>
                <a:solidFill>
                  <a:srgbClr val="577734"/>
                </a:solidFill>
                <a:effectLst/>
                <a:uFillTx/>
                <a:latin typeface="Gotham Light"/>
                <a:ea typeface="Gotham Light"/>
                <a:cs typeface="Gotham Light"/>
                <a:sym typeface="Gotham Light"/>
              </a:rPr>
              <a:t>The NAMA Four Key Pillars </a:t>
            </a:r>
            <a:r>
              <a:rPr kumimoji="0" lang="en-US" sz="5400" b="0" i="1" u="none" strike="noStrike" cap="none" spc="42" normalizeH="0" baseline="0" dirty="0">
                <a:ln>
                  <a:noFill/>
                </a:ln>
                <a:solidFill>
                  <a:srgbClr val="577734"/>
                </a:solidFill>
                <a:effectLst/>
                <a:uFillTx/>
                <a:latin typeface="Gotham Light"/>
                <a:ea typeface="Gotham Light"/>
                <a:cs typeface="Gotham Light"/>
                <a:sym typeface="Gotham Light"/>
              </a:rPr>
              <a:t>(in Detail)</a:t>
            </a:r>
          </a:p>
        </p:txBody>
      </p:sp>
      <p:pic>
        <p:nvPicPr>
          <p:cNvPr id="6" name="Graphic 5" descr="Badge 1 with solid fill">
            <a:extLst>
              <a:ext uri="{FF2B5EF4-FFF2-40B4-BE49-F238E27FC236}">
                <a16:creationId xmlns:a16="http://schemas.microsoft.com/office/drawing/2014/main" id="{96F8CB33-9971-4E9B-B3BE-FD94C7A5D5C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659774" y="1654223"/>
            <a:ext cx="914400" cy="914400"/>
          </a:xfrm>
          <a:prstGeom prst="rect">
            <a:avLst/>
          </a:prstGeom>
        </p:spPr>
      </p:pic>
      <p:pic>
        <p:nvPicPr>
          <p:cNvPr id="8" name="Graphic 7" descr="Badge with solid fill">
            <a:extLst>
              <a:ext uri="{FF2B5EF4-FFF2-40B4-BE49-F238E27FC236}">
                <a16:creationId xmlns:a16="http://schemas.microsoft.com/office/drawing/2014/main" id="{09FD6E2C-5044-433A-B880-FC010179E50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60328" y="1654223"/>
            <a:ext cx="914400" cy="914400"/>
          </a:xfrm>
          <a:prstGeom prst="rect">
            <a:avLst/>
          </a:prstGeom>
        </p:spPr>
      </p:pic>
      <p:pic>
        <p:nvPicPr>
          <p:cNvPr id="10" name="Graphic 9" descr="Badge 3 with solid fill">
            <a:extLst>
              <a:ext uri="{FF2B5EF4-FFF2-40B4-BE49-F238E27FC236}">
                <a16:creationId xmlns:a16="http://schemas.microsoft.com/office/drawing/2014/main" id="{4AB367C5-757A-4AE6-8E7A-2D2A37E9A45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4428124" y="1620962"/>
            <a:ext cx="914400" cy="914400"/>
          </a:xfrm>
          <a:prstGeom prst="rect">
            <a:avLst/>
          </a:prstGeom>
        </p:spPr>
      </p:pic>
      <p:pic>
        <p:nvPicPr>
          <p:cNvPr id="12" name="Graphic 11" descr="Badge 4 with solid fill">
            <a:extLst>
              <a:ext uri="{FF2B5EF4-FFF2-40B4-BE49-F238E27FC236}">
                <a16:creationId xmlns:a16="http://schemas.microsoft.com/office/drawing/2014/main" id="{E8806CF7-34EA-4FD8-AB5E-1BDD93D19E5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0355096" y="1654223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821856"/>
      </p:ext>
    </p:extLst>
  </p:cSld>
  <p:clrMapOvr>
    <a:masterClrMapping/>
  </p:clrMapOvr>
  <p:transition spd="med"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NAMA rebrand powerpoint.pdf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75" y="1786"/>
            <a:ext cx="24377650" cy="13712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174023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F7FF7E6D-D187-DD4B-B52E-F6D17FE93106}"/>
              </a:ext>
            </a:extLst>
          </p:cNvPr>
          <p:cNvSpPr txBox="1"/>
          <p:nvPr/>
        </p:nvSpPr>
        <p:spPr>
          <a:xfrm>
            <a:off x="792480" y="11826240"/>
            <a:ext cx="22981920" cy="1676400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l" defTabSz="457200" rtl="0" fontAlgn="auto" latinLnBrk="0" hangingPunct="0">
              <a:lnSpc>
                <a:spcPct val="1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4200" b="0" i="0" u="none" strike="noStrike" cap="none" spc="42" normalizeH="0" baseline="0" dirty="0">
              <a:ln>
                <a:noFill/>
              </a:ln>
              <a:solidFill>
                <a:srgbClr val="5E5E5E"/>
              </a:solidFill>
              <a:effectLst/>
              <a:uFillTx/>
              <a:latin typeface="Gotham Light"/>
              <a:ea typeface="Gotham Light"/>
              <a:cs typeface="Gotham Light"/>
              <a:sym typeface="Gotham Light"/>
            </a:endParaRPr>
          </a:p>
        </p:txBody>
      </p:sp>
      <p:pic>
        <p:nvPicPr>
          <p:cNvPr id="4" name="Picture 3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D5ED883B-28C1-8C41-9743-151764F85D3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1343"/>
          <a:stretch/>
        </p:blipFill>
        <p:spPr>
          <a:xfrm>
            <a:off x="0" y="0"/>
            <a:ext cx="24384000" cy="10832392"/>
          </a:xfrm>
          <a:prstGeom prst="rect">
            <a:avLst/>
          </a:prstGeom>
        </p:spPr>
      </p:pic>
      <p:pic>
        <p:nvPicPr>
          <p:cNvPr id="5" name="Picture 2" descr="nama-logo · | Reel Chicago - At the intersection of Chicago Advertising,  Entertainment, Media and Production">
            <a:extLst>
              <a:ext uri="{FF2B5EF4-FFF2-40B4-BE49-F238E27FC236}">
                <a16:creationId xmlns:a16="http://schemas.microsoft.com/office/drawing/2014/main" id="{300BE11F-88A4-2849-AD98-DDE9D4FBA5D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1460014" y="10482434"/>
            <a:ext cx="2458326" cy="27110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49931277"/>
      </p:ext>
    </p:extLst>
  </p:cSld>
  <p:clrMapOvr>
    <a:masterClrMapping/>
  </p:clrMapOvr>
  <p:transition spd="med"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6E60AEA-B2DB-4094-A6A6-FF572F5DFA2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133745" y="4905572"/>
            <a:ext cx="16800675" cy="2206754"/>
          </a:xfrm>
        </p:spPr>
        <p:txBody>
          <a:bodyPr/>
          <a:lstStyle/>
          <a:p>
            <a:r>
              <a:rPr lang="en-US" sz="8000" b="1" dirty="0">
                <a:solidFill>
                  <a:schemeClr val="tx1"/>
                </a:solidFill>
              </a:rPr>
              <a:t>WHY NAMA?</a:t>
            </a:r>
          </a:p>
          <a:p>
            <a:r>
              <a:rPr lang="en-US" sz="6600" dirty="0">
                <a:solidFill>
                  <a:schemeClr val="tx1"/>
                </a:solidFill>
              </a:rPr>
              <a:t>Making the case to prospective member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3DD391E-F156-4BF8-A78A-D95100196926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>
          <a:xfrm>
            <a:off x="22982729" y="517294"/>
            <a:ext cx="420564" cy="333425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r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1" i="0" u="none" strike="noStrike" cap="all" spc="214" normalizeH="0" baseline="0">
                <a:ln>
                  <a:noFill/>
                </a:ln>
                <a:solidFill>
                  <a:srgbClr val="D5D5D5"/>
                </a:solidFill>
                <a:effectLst/>
                <a:uFillTx/>
                <a:latin typeface="Arial" charset="0"/>
                <a:ea typeface="Arial" charset="0"/>
                <a:cs typeface="Arial" charset="0"/>
                <a:sym typeface="DIN Next LT Pro"/>
              </a:defRPr>
            </a:lvl1pPr>
            <a:lvl2pPr marL="0" marR="0" indent="0" algn="l" defTabSz="457200" rtl="0" fontAlgn="auto" latinLnBrk="0" hangingPunct="0">
              <a:lnSpc>
                <a:spcPct val="1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200" b="0" i="0" u="none" strike="noStrike" cap="none" spc="42" normalizeH="0" baseline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Gotham Light"/>
                <a:ea typeface="Gotham Light"/>
                <a:cs typeface="Gotham Light"/>
                <a:sym typeface="Gotham Light"/>
              </a:defRPr>
            </a:lvl2pPr>
            <a:lvl3pPr marL="0" marR="0" indent="0" algn="l" defTabSz="457200" rtl="0" fontAlgn="auto" latinLnBrk="0" hangingPunct="0">
              <a:lnSpc>
                <a:spcPct val="1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200" b="0" i="0" u="none" strike="noStrike" cap="none" spc="42" normalizeH="0" baseline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Gotham Light"/>
                <a:ea typeface="Gotham Light"/>
                <a:cs typeface="Gotham Light"/>
                <a:sym typeface="Gotham Light"/>
              </a:defRPr>
            </a:lvl3pPr>
            <a:lvl4pPr marL="0" marR="0" indent="0" algn="l" defTabSz="457200" rtl="0" fontAlgn="auto" latinLnBrk="0" hangingPunct="0">
              <a:lnSpc>
                <a:spcPct val="1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200" b="0" i="0" u="none" strike="noStrike" cap="none" spc="42" normalizeH="0" baseline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Gotham Light"/>
                <a:ea typeface="Gotham Light"/>
                <a:cs typeface="Gotham Light"/>
                <a:sym typeface="Gotham Light"/>
              </a:defRPr>
            </a:lvl4pPr>
            <a:lvl5pPr marL="0" marR="0" indent="0" algn="l" defTabSz="457200" rtl="0" fontAlgn="auto" latinLnBrk="0" hangingPunct="0">
              <a:lnSpc>
                <a:spcPct val="1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200" b="0" i="0" u="none" strike="noStrike" cap="none" spc="42" normalizeH="0" baseline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Gotham Light"/>
                <a:ea typeface="Gotham Light"/>
                <a:cs typeface="Gotham Light"/>
                <a:sym typeface="Gotham Light"/>
              </a:defRPr>
            </a:lvl5pPr>
            <a:lvl6pPr marL="0" marR="0" indent="0" algn="l" defTabSz="457200" rtl="0" fontAlgn="auto" latinLnBrk="0" hangingPunct="0">
              <a:lnSpc>
                <a:spcPct val="1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200" b="0" i="0" u="none" strike="noStrike" cap="none" spc="42" normalizeH="0" baseline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Gotham Light"/>
                <a:ea typeface="Gotham Light"/>
                <a:cs typeface="Gotham Light"/>
                <a:sym typeface="Gotham Light"/>
              </a:defRPr>
            </a:lvl6pPr>
            <a:lvl7pPr marL="0" marR="0" indent="0" algn="l" defTabSz="457200" rtl="0" fontAlgn="auto" latinLnBrk="0" hangingPunct="0">
              <a:lnSpc>
                <a:spcPct val="1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200" b="0" i="0" u="none" strike="noStrike" cap="none" spc="42" normalizeH="0" baseline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Gotham Light"/>
                <a:ea typeface="Gotham Light"/>
                <a:cs typeface="Gotham Light"/>
                <a:sym typeface="Gotham Light"/>
              </a:defRPr>
            </a:lvl7pPr>
            <a:lvl8pPr marL="0" marR="0" indent="0" algn="l" defTabSz="457200" rtl="0" fontAlgn="auto" latinLnBrk="0" hangingPunct="0">
              <a:lnSpc>
                <a:spcPct val="1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200" b="0" i="0" u="none" strike="noStrike" cap="none" spc="42" normalizeH="0" baseline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Gotham Light"/>
                <a:ea typeface="Gotham Light"/>
                <a:cs typeface="Gotham Light"/>
                <a:sym typeface="Gotham Light"/>
              </a:defRPr>
            </a:lvl8pPr>
            <a:lvl9pPr marL="0" marR="0" indent="0" algn="l" defTabSz="457200" rtl="0" fontAlgn="auto" latinLnBrk="0" hangingPunct="0">
              <a:lnSpc>
                <a:spcPct val="1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200" b="0" i="0" u="none" strike="noStrike" cap="none" spc="42" normalizeH="0" baseline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Gotham Light"/>
                <a:ea typeface="Gotham Light"/>
                <a:cs typeface="Gotham Light"/>
                <a:sym typeface="Gotham Light"/>
              </a:defRPr>
            </a:lvl9pPr>
          </a:lstStyle>
          <a:p>
            <a:fld id="{86CB4B4D-7CA3-9044-876B-883B54F8677D}" type="slidenum">
              <a:rPr lang="uk-UA" smtClean="0"/>
              <a:pPr/>
              <a:t>15</a:t>
            </a:fld>
            <a:endParaRPr lang="uk-UA"/>
          </a:p>
        </p:txBody>
      </p:sp>
      <p:pic>
        <p:nvPicPr>
          <p:cNvPr id="9218" name="Picture 2" descr="nama-logo · | Reel Chicago - At the intersection of Chicago Advertising,  Entertainment, Media and Production">
            <a:extLst>
              <a:ext uri="{FF2B5EF4-FFF2-40B4-BE49-F238E27FC236}">
                <a16:creationId xmlns:a16="http://schemas.microsoft.com/office/drawing/2014/main" id="{DD3C9A34-04AE-024A-8D74-B88370754D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8540" y="3860800"/>
            <a:ext cx="4071620" cy="44901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84301010"/>
      </p:ext>
    </p:extLst>
  </p:cSld>
  <p:clrMapOvr>
    <a:masterClrMapping/>
  </p:clrMapOvr>
  <p:transition spd="med"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" name="Group 31">
            <a:extLst>
              <a:ext uri="{FF2B5EF4-FFF2-40B4-BE49-F238E27FC236}">
                <a16:creationId xmlns:a16="http://schemas.microsoft.com/office/drawing/2014/main" id="{6C3D5429-BD03-E742-ADC7-068C97F64D39}"/>
              </a:ext>
            </a:extLst>
          </p:cNvPr>
          <p:cNvGrpSpPr/>
          <p:nvPr/>
        </p:nvGrpSpPr>
        <p:grpSpPr>
          <a:xfrm>
            <a:off x="12012563" y="5649400"/>
            <a:ext cx="749300" cy="2814608"/>
            <a:chOff x="11860163" y="8331640"/>
            <a:chExt cx="749300" cy="2814608"/>
          </a:xfrm>
        </p:grpSpPr>
        <p:pic>
          <p:nvPicPr>
            <p:cNvPr id="13" name="Picture 12" descr="Icon&#10;&#10;Description automatically generated">
              <a:extLst>
                <a:ext uri="{FF2B5EF4-FFF2-40B4-BE49-F238E27FC236}">
                  <a16:creationId xmlns:a16="http://schemas.microsoft.com/office/drawing/2014/main" id="{420A7727-2A6A-D54D-844B-49413700952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1860163" y="10252238"/>
              <a:ext cx="727503" cy="894010"/>
            </a:xfrm>
            <a:prstGeom prst="rect">
              <a:avLst/>
            </a:prstGeom>
          </p:spPr>
        </p:pic>
        <p:pic>
          <p:nvPicPr>
            <p:cNvPr id="19" name="Picture 18" descr="Icon&#10;&#10;Description automatically generated">
              <a:extLst>
                <a:ext uri="{FF2B5EF4-FFF2-40B4-BE49-F238E27FC236}">
                  <a16:creationId xmlns:a16="http://schemas.microsoft.com/office/drawing/2014/main" id="{97497D28-E7DB-2E4A-A1E2-4BCC340C256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1"/>
            <a:stretch/>
          </p:blipFill>
          <p:spPr>
            <a:xfrm>
              <a:off x="11940830" y="8979019"/>
              <a:ext cx="668633" cy="830994"/>
            </a:xfrm>
            <a:prstGeom prst="rect">
              <a:avLst/>
            </a:prstGeom>
          </p:spPr>
        </p:pic>
        <p:pic>
          <p:nvPicPr>
            <p:cNvPr id="27" name="Picture 26" descr="Icon&#10;&#10;Description automatically generated">
              <a:extLst>
                <a:ext uri="{FF2B5EF4-FFF2-40B4-BE49-F238E27FC236}">
                  <a16:creationId xmlns:a16="http://schemas.microsoft.com/office/drawing/2014/main" id="{84754C94-692B-F446-AA3E-52589B901ED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1987150" y="8331640"/>
              <a:ext cx="575995" cy="830993"/>
            </a:xfrm>
            <a:prstGeom prst="rect">
              <a:avLst/>
            </a:prstGeom>
          </p:spPr>
        </p:pic>
        <p:pic>
          <p:nvPicPr>
            <p:cNvPr id="18" name="Picture 17" descr="Icon&#10;&#10;Description automatically generated">
              <a:extLst>
                <a:ext uri="{FF2B5EF4-FFF2-40B4-BE49-F238E27FC236}">
                  <a16:creationId xmlns:a16="http://schemas.microsoft.com/office/drawing/2014/main" id="{0B13BB18-6E5D-2643-8FBC-BAF529057E9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1"/>
            <a:stretch/>
          </p:blipFill>
          <p:spPr>
            <a:xfrm>
              <a:off x="11995084" y="9690930"/>
              <a:ext cx="528604" cy="649589"/>
            </a:xfrm>
            <a:prstGeom prst="rect">
              <a:avLst/>
            </a:prstGeom>
          </p:spPr>
        </p:pic>
      </p:grpSp>
      <p:graphicFrame>
        <p:nvGraphicFramePr>
          <p:cNvPr id="8" name="Table 8">
            <a:extLst>
              <a:ext uri="{FF2B5EF4-FFF2-40B4-BE49-F238E27FC236}">
                <a16:creationId xmlns:a16="http://schemas.microsoft.com/office/drawing/2014/main" id="{37F757D8-146E-B249-BF3E-C13FBE1E5D4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7339596"/>
              </p:ext>
            </p:extLst>
          </p:nvPr>
        </p:nvGraphicFramePr>
        <p:xfrm>
          <a:off x="1309306" y="2170853"/>
          <a:ext cx="10577894" cy="5090160"/>
        </p:xfrm>
        <a:graphic>
          <a:graphicData uri="http://schemas.openxmlformats.org/drawingml/2006/table">
            <a:tbl>
              <a:tblPr firstRow="1" bandRow="1">
                <a:tableStyleId>{1FECB4D8-DB02-4DC6-A0A2-4F2EBAE1DC90}</a:tableStyleId>
              </a:tblPr>
              <a:tblGrid>
                <a:gridCol w="10577894">
                  <a:extLst>
                    <a:ext uri="{9D8B030D-6E8A-4147-A177-3AD203B41FA5}">
                      <a16:colId xmlns:a16="http://schemas.microsoft.com/office/drawing/2014/main" val="42089415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dirty="0"/>
                        <a:t>MEMBERS</a:t>
                      </a:r>
                    </a:p>
                  </a:txBody>
                  <a:tcPr>
                    <a:solidFill>
                      <a:srgbClr val="00854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40126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571500" indent="-571500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4000" dirty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Networking – local and national levels</a:t>
                      </a:r>
                    </a:p>
                    <a:p>
                      <a:pPr marL="571500" indent="-571500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4000" dirty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Leadership Opportunities</a:t>
                      </a:r>
                    </a:p>
                    <a:p>
                      <a:pPr marL="571500" indent="-571500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4000" dirty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Marketing Skill Development</a:t>
                      </a:r>
                    </a:p>
                    <a:p>
                      <a:pPr marL="571500" lvl="8" indent="-571500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4000" dirty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Webinar participation</a:t>
                      </a:r>
                    </a:p>
                    <a:p>
                      <a:pPr marL="571500" lvl="8" indent="-571500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4000" dirty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National committee exposure &amp; involvement</a:t>
                      </a:r>
                    </a:p>
                    <a:p>
                      <a:pPr marL="571500" lvl="8" indent="-571500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4000" dirty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Mentorship</a:t>
                      </a: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0271286"/>
                  </a:ext>
                </a:extLst>
              </a:tr>
            </a:tbl>
          </a:graphicData>
        </a:graphic>
      </p:graphicFrame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1C45369C-306E-1B46-948E-9909725AA1F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9345571"/>
              </p:ext>
            </p:extLst>
          </p:nvPr>
        </p:nvGraphicFramePr>
        <p:xfrm>
          <a:off x="1277161" y="7554493"/>
          <a:ext cx="10577894" cy="573024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0577894">
                  <a:extLst>
                    <a:ext uri="{9D8B030D-6E8A-4147-A177-3AD203B41FA5}">
                      <a16:colId xmlns:a16="http://schemas.microsoft.com/office/drawing/2014/main" val="42089415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dirty="0"/>
                        <a:t>ORGANIZATIONS</a:t>
                      </a:r>
                    </a:p>
                  </a:txBody>
                  <a:tcPr>
                    <a:solidFill>
                      <a:srgbClr val="00854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40126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571500" indent="-571500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4000" dirty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Sponsorship &amp; Partnerships</a:t>
                      </a:r>
                    </a:p>
                    <a:p>
                      <a:pPr marL="571500" indent="-571500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4000" dirty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Thought Leadership Visibility</a:t>
                      </a:r>
                    </a:p>
                    <a:p>
                      <a:pPr marL="571500" indent="-571500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4000" dirty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Speaking platforms</a:t>
                      </a:r>
                    </a:p>
                    <a:p>
                      <a:pPr marL="571500" indent="-571500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4000" dirty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Support of colleague development</a:t>
                      </a:r>
                    </a:p>
                    <a:p>
                      <a:pPr marL="571500" indent="-571500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4000" dirty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Reward &amp; Recognition</a:t>
                      </a:r>
                    </a:p>
                    <a:p>
                      <a:pPr marL="571500" indent="-571500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4000" dirty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Employee Recruitment &amp; Retention</a:t>
                      </a:r>
                    </a:p>
                    <a:p>
                      <a:pPr marL="571500" indent="-571500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4000" dirty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Networking</a:t>
                      </a:r>
                    </a:p>
                    <a:p>
                      <a:pPr>
                        <a:lnSpc>
                          <a:spcPct val="100000"/>
                        </a:lnSpc>
                      </a:pPr>
                      <a:endParaRPr lang="en-US" dirty="0"/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0271286"/>
                  </a:ext>
                </a:extLst>
              </a:tr>
            </a:tbl>
          </a:graphicData>
        </a:graphic>
      </p:graphicFrame>
      <p:pic>
        <p:nvPicPr>
          <p:cNvPr id="20" name="Picture 19" descr="Icon&#10;&#10;Description automatically generated">
            <a:extLst>
              <a:ext uri="{FF2B5EF4-FFF2-40B4-BE49-F238E27FC236}">
                <a16:creationId xmlns:a16="http://schemas.microsoft.com/office/drawing/2014/main" id="{7908F9B8-20F2-DF47-838B-F5D0315FDD98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230985" y="2800208"/>
            <a:ext cx="585405" cy="844568"/>
          </a:xfrm>
          <a:prstGeom prst="rect">
            <a:avLst/>
          </a:prstGeom>
        </p:spPr>
      </p:pic>
      <p:graphicFrame>
        <p:nvGraphicFramePr>
          <p:cNvPr id="25" name="Table 8">
            <a:extLst>
              <a:ext uri="{FF2B5EF4-FFF2-40B4-BE49-F238E27FC236}">
                <a16:creationId xmlns:a16="http://schemas.microsoft.com/office/drawing/2014/main" id="{741F1568-A5F0-EB49-AB52-8AE454688F6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59366135"/>
              </p:ext>
            </p:extLst>
          </p:nvPr>
        </p:nvGraphicFramePr>
        <p:xfrm>
          <a:off x="12861223" y="2194560"/>
          <a:ext cx="10577894" cy="204216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0577894">
                  <a:extLst>
                    <a:ext uri="{9D8B030D-6E8A-4147-A177-3AD203B41FA5}">
                      <a16:colId xmlns:a16="http://schemas.microsoft.com/office/drawing/2014/main" val="42089415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dirty="0"/>
                        <a:t>YOUR Chapter HERE</a:t>
                      </a:r>
                    </a:p>
                  </a:txBody>
                  <a:tcPr>
                    <a:solidFill>
                      <a:srgbClr val="00854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401264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en-US" sz="4000" dirty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@</a:t>
                      </a:r>
                    </a:p>
                    <a:p>
                      <a:pPr marL="0" indent="0">
                        <a:lnSpc>
                          <a:spcPct val="10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en-US" sz="4000" dirty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@</a:t>
                      </a: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0271286"/>
                  </a:ext>
                </a:extLst>
              </a:tr>
            </a:tbl>
          </a:graphicData>
        </a:graphic>
      </p:graphicFrame>
      <p:graphicFrame>
        <p:nvGraphicFramePr>
          <p:cNvPr id="26" name="Table 8">
            <a:extLst>
              <a:ext uri="{FF2B5EF4-FFF2-40B4-BE49-F238E27FC236}">
                <a16:creationId xmlns:a16="http://schemas.microsoft.com/office/drawing/2014/main" id="{9DDE6B0B-D7BB-AB47-8B75-2EA3E64975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50456203"/>
              </p:ext>
            </p:extLst>
          </p:nvPr>
        </p:nvGraphicFramePr>
        <p:xfrm>
          <a:off x="12816390" y="4922520"/>
          <a:ext cx="10577894" cy="387096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0577894">
                  <a:extLst>
                    <a:ext uri="{9D8B030D-6E8A-4147-A177-3AD203B41FA5}">
                      <a16:colId xmlns:a16="http://schemas.microsoft.com/office/drawing/2014/main" val="42089415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dirty="0"/>
                        <a:t>National NAMA</a:t>
                      </a:r>
                    </a:p>
                  </a:txBody>
                  <a:tcPr>
                    <a:solidFill>
                      <a:srgbClr val="00854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4012643"/>
                  </a:ext>
                </a:extLst>
              </a:tr>
              <a:tr h="172720"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en-US" sz="4000" dirty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@NationalNAMA </a:t>
                      </a:r>
                    </a:p>
                    <a:p>
                      <a:pPr marL="0" indent="0">
                        <a:lnSpc>
                          <a:spcPct val="10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en-US" sz="4000" dirty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@officialNAMA </a:t>
                      </a:r>
                    </a:p>
                    <a:p>
                      <a:pPr marL="0" indent="0">
                        <a:lnSpc>
                          <a:spcPct val="10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en-US" sz="4000" dirty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National Agri-Marketing Association (NAMA)</a:t>
                      </a:r>
                    </a:p>
                    <a:p>
                      <a:pPr marL="0" indent="0">
                        <a:lnSpc>
                          <a:spcPct val="10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en-US" sz="4000" dirty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@ExploreNAMA</a:t>
                      </a:r>
                    </a:p>
                    <a:p>
                      <a:pPr marL="0" indent="0">
                        <a:lnSpc>
                          <a:spcPct val="10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en-US" sz="4000" dirty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www.nama.org</a:t>
                      </a: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0271286"/>
                  </a:ext>
                </a:extLst>
              </a:tr>
            </a:tbl>
          </a:graphicData>
        </a:graphic>
      </p:graphicFrame>
      <p:pic>
        <p:nvPicPr>
          <p:cNvPr id="7" name="Picture 6" descr="Icon&#10;&#10;Description automatically generated">
            <a:extLst>
              <a:ext uri="{FF2B5EF4-FFF2-40B4-BE49-F238E27FC236}">
                <a16:creationId xmlns:a16="http://schemas.microsoft.com/office/drawing/2014/main" id="{236CF486-6815-46DB-CD80-307033CE958D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"/>
          <a:stretch/>
        </p:blipFill>
        <p:spPr>
          <a:xfrm>
            <a:off x="12211462" y="3735112"/>
            <a:ext cx="528604" cy="649589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0B74A20C-E2B3-4029-B15E-6C2A357B356A}"/>
              </a:ext>
            </a:extLst>
          </p:cNvPr>
          <p:cNvSpPr txBox="1"/>
          <p:nvPr/>
        </p:nvSpPr>
        <p:spPr>
          <a:xfrm>
            <a:off x="1026622" y="527448"/>
            <a:ext cx="12194770" cy="139698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marL="0" marR="0" indent="0" algn="l" defTabSz="457200" rtl="0" fontAlgn="auto" latinLnBrk="0" hangingPunct="0">
              <a:lnSpc>
                <a:spcPct val="1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5400" b="0" i="0" u="none" strike="noStrike" cap="none" spc="42" normalizeH="0" baseline="0" dirty="0">
                <a:ln>
                  <a:noFill/>
                </a:ln>
                <a:solidFill>
                  <a:srgbClr val="577734"/>
                </a:solidFill>
                <a:effectLst/>
                <a:uFillTx/>
                <a:latin typeface="Gotham Light"/>
                <a:ea typeface="Gotham Light"/>
                <a:cs typeface="Gotham Light"/>
                <a:sym typeface="Gotham Light"/>
              </a:rPr>
              <a:t>Member &amp; Organization Benefits</a:t>
            </a:r>
            <a:endParaRPr kumimoji="0" lang="en-US" sz="5400" b="0" i="1" u="none" strike="noStrike" cap="none" spc="42" normalizeH="0" baseline="0" dirty="0">
              <a:ln>
                <a:noFill/>
              </a:ln>
              <a:solidFill>
                <a:srgbClr val="577734"/>
              </a:solidFill>
              <a:effectLst/>
              <a:uFillTx/>
              <a:latin typeface="Gotham Light"/>
              <a:ea typeface="Gotham Light"/>
              <a:cs typeface="Gotham Light"/>
              <a:sym typeface="Gotham Light"/>
            </a:endParaRPr>
          </a:p>
        </p:txBody>
      </p:sp>
    </p:spTree>
    <p:extLst>
      <p:ext uri="{BB962C8B-B14F-4D97-AF65-F5344CB8AC3E}">
        <p14:creationId xmlns:p14="http://schemas.microsoft.com/office/powerpoint/2010/main" val="2055340429"/>
      </p:ext>
    </p:extLst>
  </p:cSld>
  <p:clrMapOvr>
    <a:masterClrMapping/>
  </p:clrMapOvr>
  <p:transition spd="med"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6E60AEA-B2DB-4094-A6A6-FF572F5DFA2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133745" y="4905572"/>
            <a:ext cx="16800675" cy="1292658"/>
          </a:xfrm>
        </p:spPr>
        <p:txBody>
          <a:bodyPr/>
          <a:lstStyle/>
          <a:p>
            <a:r>
              <a:rPr lang="en-US" sz="8000" b="1" dirty="0">
                <a:solidFill>
                  <a:schemeClr val="tx1"/>
                </a:solidFill>
              </a:rPr>
              <a:t>THANK YOU!</a:t>
            </a:r>
            <a:endParaRPr lang="en-US" sz="4800" b="0" i="1" dirty="0">
              <a:solidFill>
                <a:schemeClr val="tx1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3DD391E-F156-4BF8-A78A-D95100196926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>
          <a:xfrm>
            <a:off x="22982729" y="517294"/>
            <a:ext cx="420564" cy="333425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r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1" i="0" u="none" strike="noStrike" cap="all" spc="214" normalizeH="0" baseline="0">
                <a:ln>
                  <a:noFill/>
                </a:ln>
                <a:solidFill>
                  <a:srgbClr val="D5D5D5"/>
                </a:solidFill>
                <a:effectLst/>
                <a:uFillTx/>
                <a:latin typeface="Arial" charset="0"/>
                <a:ea typeface="Arial" charset="0"/>
                <a:cs typeface="Arial" charset="0"/>
                <a:sym typeface="DIN Next LT Pro"/>
              </a:defRPr>
            </a:lvl1pPr>
            <a:lvl2pPr marL="0" marR="0" indent="0" algn="l" defTabSz="457200" rtl="0" fontAlgn="auto" latinLnBrk="0" hangingPunct="0">
              <a:lnSpc>
                <a:spcPct val="1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200" b="0" i="0" u="none" strike="noStrike" cap="none" spc="42" normalizeH="0" baseline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Gotham Light"/>
                <a:ea typeface="Gotham Light"/>
                <a:cs typeface="Gotham Light"/>
                <a:sym typeface="Gotham Light"/>
              </a:defRPr>
            </a:lvl2pPr>
            <a:lvl3pPr marL="0" marR="0" indent="0" algn="l" defTabSz="457200" rtl="0" fontAlgn="auto" latinLnBrk="0" hangingPunct="0">
              <a:lnSpc>
                <a:spcPct val="1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200" b="0" i="0" u="none" strike="noStrike" cap="none" spc="42" normalizeH="0" baseline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Gotham Light"/>
                <a:ea typeface="Gotham Light"/>
                <a:cs typeface="Gotham Light"/>
                <a:sym typeface="Gotham Light"/>
              </a:defRPr>
            </a:lvl3pPr>
            <a:lvl4pPr marL="0" marR="0" indent="0" algn="l" defTabSz="457200" rtl="0" fontAlgn="auto" latinLnBrk="0" hangingPunct="0">
              <a:lnSpc>
                <a:spcPct val="1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200" b="0" i="0" u="none" strike="noStrike" cap="none" spc="42" normalizeH="0" baseline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Gotham Light"/>
                <a:ea typeface="Gotham Light"/>
                <a:cs typeface="Gotham Light"/>
                <a:sym typeface="Gotham Light"/>
              </a:defRPr>
            </a:lvl4pPr>
            <a:lvl5pPr marL="0" marR="0" indent="0" algn="l" defTabSz="457200" rtl="0" fontAlgn="auto" latinLnBrk="0" hangingPunct="0">
              <a:lnSpc>
                <a:spcPct val="1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200" b="0" i="0" u="none" strike="noStrike" cap="none" spc="42" normalizeH="0" baseline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Gotham Light"/>
                <a:ea typeface="Gotham Light"/>
                <a:cs typeface="Gotham Light"/>
                <a:sym typeface="Gotham Light"/>
              </a:defRPr>
            </a:lvl5pPr>
            <a:lvl6pPr marL="0" marR="0" indent="0" algn="l" defTabSz="457200" rtl="0" fontAlgn="auto" latinLnBrk="0" hangingPunct="0">
              <a:lnSpc>
                <a:spcPct val="1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200" b="0" i="0" u="none" strike="noStrike" cap="none" spc="42" normalizeH="0" baseline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Gotham Light"/>
                <a:ea typeface="Gotham Light"/>
                <a:cs typeface="Gotham Light"/>
                <a:sym typeface="Gotham Light"/>
              </a:defRPr>
            </a:lvl6pPr>
            <a:lvl7pPr marL="0" marR="0" indent="0" algn="l" defTabSz="457200" rtl="0" fontAlgn="auto" latinLnBrk="0" hangingPunct="0">
              <a:lnSpc>
                <a:spcPct val="1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200" b="0" i="0" u="none" strike="noStrike" cap="none" spc="42" normalizeH="0" baseline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Gotham Light"/>
                <a:ea typeface="Gotham Light"/>
                <a:cs typeface="Gotham Light"/>
                <a:sym typeface="Gotham Light"/>
              </a:defRPr>
            </a:lvl7pPr>
            <a:lvl8pPr marL="0" marR="0" indent="0" algn="l" defTabSz="457200" rtl="0" fontAlgn="auto" latinLnBrk="0" hangingPunct="0">
              <a:lnSpc>
                <a:spcPct val="1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200" b="0" i="0" u="none" strike="noStrike" cap="none" spc="42" normalizeH="0" baseline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Gotham Light"/>
                <a:ea typeface="Gotham Light"/>
                <a:cs typeface="Gotham Light"/>
                <a:sym typeface="Gotham Light"/>
              </a:defRPr>
            </a:lvl8pPr>
            <a:lvl9pPr marL="0" marR="0" indent="0" algn="l" defTabSz="457200" rtl="0" fontAlgn="auto" latinLnBrk="0" hangingPunct="0">
              <a:lnSpc>
                <a:spcPct val="1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200" b="0" i="0" u="none" strike="noStrike" cap="none" spc="42" normalizeH="0" baseline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Gotham Light"/>
                <a:ea typeface="Gotham Light"/>
                <a:cs typeface="Gotham Light"/>
                <a:sym typeface="Gotham Light"/>
              </a:defRPr>
            </a:lvl9pPr>
          </a:lstStyle>
          <a:p>
            <a:fld id="{86CB4B4D-7CA3-9044-876B-883B54F8677D}" type="slidenum">
              <a:rPr lang="uk-UA" smtClean="0"/>
              <a:pPr/>
              <a:t>17</a:t>
            </a:fld>
            <a:endParaRPr lang="uk-UA"/>
          </a:p>
        </p:txBody>
      </p:sp>
      <p:pic>
        <p:nvPicPr>
          <p:cNvPr id="9218" name="Picture 2" descr="nama-logo · | Reel Chicago - At the intersection of Chicago Advertising,  Entertainment, Media and Production">
            <a:extLst>
              <a:ext uri="{FF2B5EF4-FFF2-40B4-BE49-F238E27FC236}">
                <a16:creationId xmlns:a16="http://schemas.microsoft.com/office/drawing/2014/main" id="{DD3C9A34-04AE-024A-8D74-B88370754D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8540" y="3860800"/>
            <a:ext cx="4071620" cy="44901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69543050"/>
      </p:ext>
    </p:extLst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6B59BDF-9723-0949-BBAF-1503742DEB3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>
            <a:normAutofit/>
          </a:bodyPr>
          <a:lstStyle/>
          <a:p>
            <a:r>
              <a:rPr lang="en-US" sz="4400" dirty="0">
                <a:solidFill>
                  <a:schemeClr val="bg2">
                    <a:lumMod val="50000"/>
                  </a:schemeClr>
                </a:solidFill>
              </a:rPr>
              <a:t>X</a:t>
            </a:r>
          </a:p>
          <a:p>
            <a:r>
              <a:rPr lang="en-US" sz="4400" dirty="0">
                <a:solidFill>
                  <a:schemeClr val="bg2">
                    <a:lumMod val="50000"/>
                  </a:schemeClr>
                </a:solidFill>
              </a:rPr>
              <a:t>X</a:t>
            </a:r>
          </a:p>
          <a:p>
            <a:r>
              <a:rPr lang="en-US" sz="4400" dirty="0">
                <a:solidFill>
                  <a:schemeClr val="bg2">
                    <a:lumMod val="50000"/>
                  </a:schemeClr>
                </a:solidFill>
              </a:rPr>
              <a:t>X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9CD16A5-6BD5-3C46-AA3D-87D1B632F8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cap="all" dirty="0">
                <a:solidFill>
                  <a:schemeClr val="tx1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4231554094"/>
      </p:ext>
    </p:extLst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6E60AEA-B2DB-4094-A6A6-FF572F5DFA2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133745" y="4905572"/>
            <a:ext cx="16800675" cy="2400653"/>
          </a:xfrm>
        </p:spPr>
        <p:txBody>
          <a:bodyPr/>
          <a:lstStyle/>
          <a:p>
            <a:r>
              <a:rPr lang="en-US" sz="8000" b="1" dirty="0">
                <a:solidFill>
                  <a:schemeClr val="tx1"/>
                </a:solidFill>
              </a:rPr>
              <a:t>MY PERSONAL</a:t>
            </a:r>
          </a:p>
          <a:p>
            <a:r>
              <a:rPr lang="en-US" sz="8000" b="1" dirty="0">
                <a:solidFill>
                  <a:schemeClr val="tx1"/>
                </a:solidFill>
              </a:rPr>
              <a:t>NAMA JOURNEY</a:t>
            </a:r>
            <a:endParaRPr lang="en-US" sz="4800" b="0" i="1" dirty="0">
              <a:solidFill>
                <a:schemeClr val="tx1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3DD391E-F156-4BF8-A78A-D95100196926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>
          <a:xfrm>
            <a:off x="22982729" y="517294"/>
            <a:ext cx="420564" cy="333425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r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1" i="0" u="none" strike="noStrike" cap="all" spc="214" normalizeH="0" baseline="0">
                <a:ln>
                  <a:noFill/>
                </a:ln>
                <a:solidFill>
                  <a:srgbClr val="D5D5D5"/>
                </a:solidFill>
                <a:effectLst/>
                <a:uFillTx/>
                <a:latin typeface="Arial" charset="0"/>
                <a:ea typeface="Arial" charset="0"/>
                <a:cs typeface="Arial" charset="0"/>
                <a:sym typeface="DIN Next LT Pro"/>
              </a:defRPr>
            </a:lvl1pPr>
            <a:lvl2pPr marL="0" marR="0" indent="0" algn="l" defTabSz="457200" rtl="0" fontAlgn="auto" latinLnBrk="0" hangingPunct="0">
              <a:lnSpc>
                <a:spcPct val="1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200" b="0" i="0" u="none" strike="noStrike" cap="none" spc="42" normalizeH="0" baseline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Gotham Light"/>
                <a:ea typeface="Gotham Light"/>
                <a:cs typeface="Gotham Light"/>
                <a:sym typeface="Gotham Light"/>
              </a:defRPr>
            </a:lvl2pPr>
            <a:lvl3pPr marL="0" marR="0" indent="0" algn="l" defTabSz="457200" rtl="0" fontAlgn="auto" latinLnBrk="0" hangingPunct="0">
              <a:lnSpc>
                <a:spcPct val="1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200" b="0" i="0" u="none" strike="noStrike" cap="none" spc="42" normalizeH="0" baseline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Gotham Light"/>
                <a:ea typeface="Gotham Light"/>
                <a:cs typeface="Gotham Light"/>
                <a:sym typeface="Gotham Light"/>
              </a:defRPr>
            </a:lvl3pPr>
            <a:lvl4pPr marL="0" marR="0" indent="0" algn="l" defTabSz="457200" rtl="0" fontAlgn="auto" latinLnBrk="0" hangingPunct="0">
              <a:lnSpc>
                <a:spcPct val="1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200" b="0" i="0" u="none" strike="noStrike" cap="none" spc="42" normalizeH="0" baseline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Gotham Light"/>
                <a:ea typeface="Gotham Light"/>
                <a:cs typeface="Gotham Light"/>
                <a:sym typeface="Gotham Light"/>
              </a:defRPr>
            </a:lvl4pPr>
            <a:lvl5pPr marL="0" marR="0" indent="0" algn="l" defTabSz="457200" rtl="0" fontAlgn="auto" latinLnBrk="0" hangingPunct="0">
              <a:lnSpc>
                <a:spcPct val="1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200" b="0" i="0" u="none" strike="noStrike" cap="none" spc="42" normalizeH="0" baseline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Gotham Light"/>
                <a:ea typeface="Gotham Light"/>
                <a:cs typeface="Gotham Light"/>
                <a:sym typeface="Gotham Light"/>
              </a:defRPr>
            </a:lvl5pPr>
            <a:lvl6pPr marL="0" marR="0" indent="0" algn="l" defTabSz="457200" rtl="0" fontAlgn="auto" latinLnBrk="0" hangingPunct="0">
              <a:lnSpc>
                <a:spcPct val="1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200" b="0" i="0" u="none" strike="noStrike" cap="none" spc="42" normalizeH="0" baseline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Gotham Light"/>
                <a:ea typeface="Gotham Light"/>
                <a:cs typeface="Gotham Light"/>
                <a:sym typeface="Gotham Light"/>
              </a:defRPr>
            </a:lvl6pPr>
            <a:lvl7pPr marL="0" marR="0" indent="0" algn="l" defTabSz="457200" rtl="0" fontAlgn="auto" latinLnBrk="0" hangingPunct="0">
              <a:lnSpc>
                <a:spcPct val="1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200" b="0" i="0" u="none" strike="noStrike" cap="none" spc="42" normalizeH="0" baseline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Gotham Light"/>
                <a:ea typeface="Gotham Light"/>
                <a:cs typeface="Gotham Light"/>
                <a:sym typeface="Gotham Light"/>
              </a:defRPr>
            </a:lvl7pPr>
            <a:lvl8pPr marL="0" marR="0" indent="0" algn="l" defTabSz="457200" rtl="0" fontAlgn="auto" latinLnBrk="0" hangingPunct="0">
              <a:lnSpc>
                <a:spcPct val="1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200" b="0" i="0" u="none" strike="noStrike" cap="none" spc="42" normalizeH="0" baseline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Gotham Light"/>
                <a:ea typeface="Gotham Light"/>
                <a:cs typeface="Gotham Light"/>
                <a:sym typeface="Gotham Light"/>
              </a:defRPr>
            </a:lvl8pPr>
            <a:lvl9pPr marL="0" marR="0" indent="0" algn="l" defTabSz="457200" rtl="0" fontAlgn="auto" latinLnBrk="0" hangingPunct="0">
              <a:lnSpc>
                <a:spcPct val="1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200" b="0" i="0" u="none" strike="noStrike" cap="none" spc="42" normalizeH="0" baseline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Gotham Light"/>
                <a:ea typeface="Gotham Light"/>
                <a:cs typeface="Gotham Light"/>
                <a:sym typeface="Gotham Light"/>
              </a:defRPr>
            </a:lvl9pPr>
          </a:lstStyle>
          <a:p>
            <a:fld id="{86CB4B4D-7CA3-9044-876B-883B54F8677D}" type="slidenum">
              <a:rPr lang="uk-UA" smtClean="0"/>
              <a:pPr/>
              <a:t>3</a:t>
            </a:fld>
            <a:endParaRPr lang="uk-UA"/>
          </a:p>
        </p:txBody>
      </p:sp>
      <p:pic>
        <p:nvPicPr>
          <p:cNvPr id="9218" name="Picture 2" descr="nama-logo · | Reel Chicago - At the intersection of Chicago Advertising,  Entertainment, Media and Production">
            <a:extLst>
              <a:ext uri="{FF2B5EF4-FFF2-40B4-BE49-F238E27FC236}">
                <a16:creationId xmlns:a16="http://schemas.microsoft.com/office/drawing/2014/main" id="{DD3C9A34-04AE-024A-8D74-B88370754D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8540" y="3860800"/>
            <a:ext cx="4071620" cy="44901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 descr="nama-logo · | Reel Chicago - At the intersection of Chicago Advertising,  Entertainment, Media and Production">
            <a:extLst>
              <a:ext uri="{FF2B5EF4-FFF2-40B4-BE49-F238E27FC236}">
                <a16:creationId xmlns:a16="http://schemas.microsoft.com/office/drawing/2014/main" id="{2549ED78-5AA5-B04A-8251-99872875FBF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1460014" y="10482434"/>
            <a:ext cx="2458326" cy="27110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28221140"/>
      </p:ext>
    </p:extLst>
  </p:cSld>
  <p:clrMapOvr>
    <a:masterClrMapping/>
  </p:clrMapOvr>
  <p:transition spd="med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9CD16A5-6BD5-3C46-AA3D-87D1B632F8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cap="all" dirty="0">
                <a:solidFill>
                  <a:schemeClr val="tx1"/>
                </a:solidFill>
              </a:rPr>
              <a:t>Your Name Here (add photos to help visualize too)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BB692E2D-0914-224D-B4FB-B23BD60BC90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95833019"/>
              </p:ext>
            </p:extLst>
          </p:nvPr>
        </p:nvGraphicFramePr>
        <p:xfrm>
          <a:off x="1309306" y="2170276"/>
          <a:ext cx="19684572" cy="8130721"/>
        </p:xfrm>
        <a:graphic>
          <a:graphicData uri="http://schemas.openxmlformats.org/drawingml/2006/table">
            <a:tbl>
              <a:tblPr firstRow="1" bandRow="1">
                <a:tableStyleId>{10A1B5D5-9B99-4C35-A422-299274C87663}</a:tableStyleId>
              </a:tblPr>
              <a:tblGrid>
                <a:gridCol w="5030784">
                  <a:extLst>
                    <a:ext uri="{9D8B030D-6E8A-4147-A177-3AD203B41FA5}">
                      <a16:colId xmlns:a16="http://schemas.microsoft.com/office/drawing/2014/main" val="2535030196"/>
                    </a:ext>
                  </a:extLst>
                </a:gridCol>
                <a:gridCol w="14653788">
                  <a:extLst>
                    <a:ext uri="{9D8B030D-6E8A-4147-A177-3AD203B41FA5}">
                      <a16:colId xmlns:a16="http://schemas.microsoft.com/office/drawing/2014/main" val="2477052268"/>
                    </a:ext>
                  </a:extLst>
                </a:gridCol>
              </a:tblGrid>
              <a:tr h="1264779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3600" b="1" dirty="0">
                          <a:solidFill>
                            <a:schemeClr val="bg1"/>
                          </a:solidFill>
                        </a:rPr>
                        <a:t>My NAMA Bio</a:t>
                      </a:r>
                    </a:p>
                  </a:txBody>
                  <a:tcPr>
                    <a:solidFill>
                      <a:srgbClr val="008540"/>
                    </a:solidFill>
                  </a:tcPr>
                </a:tc>
                <a:tc>
                  <a:txBody>
                    <a:bodyPr/>
                    <a:lstStyle/>
                    <a:p>
                      <a:pPr marL="457200" indent="-457200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3600" b="0" dirty="0">
                          <a:solidFill>
                            <a:schemeClr val="tx1"/>
                          </a:solidFill>
                        </a:rPr>
                        <a:t>x</a:t>
                      </a: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3698374"/>
                  </a:ext>
                </a:extLst>
              </a:tr>
              <a:tr h="4517067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3600" b="1" dirty="0">
                          <a:solidFill>
                            <a:schemeClr val="bg1"/>
                          </a:solidFill>
                        </a:rPr>
                        <a:t>Why I am a NAMA Member</a:t>
                      </a:r>
                    </a:p>
                  </a:txBody>
                  <a:tcPr>
                    <a:solidFill>
                      <a:srgbClr val="008540"/>
                    </a:solidFill>
                  </a:tcPr>
                </a:tc>
                <a:tc>
                  <a:txBody>
                    <a:bodyPr/>
                    <a:lstStyle/>
                    <a:p>
                      <a:pPr marL="457200" indent="-457200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3600" b="0" dirty="0">
                          <a:solidFill>
                            <a:schemeClr val="tx1"/>
                          </a:solidFill>
                        </a:rPr>
                        <a:t>X</a:t>
                      </a:r>
                    </a:p>
                    <a:p>
                      <a:pPr marL="457200" indent="-457200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3600" b="0" dirty="0">
                          <a:solidFill>
                            <a:schemeClr val="tx1"/>
                          </a:solidFill>
                        </a:rPr>
                        <a:t>X</a:t>
                      </a:r>
                    </a:p>
                    <a:p>
                      <a:pPr marL="457200" indent="-457200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3600" b="0" dirty="0">
                          <a:solidFill>
                            <a:schemeClr val="tx1"/>
                          </a:solidFill>
                        </a:rPr>
                        <a:t>X</a:t>
                      </a:r>
                    </a:p>
                    <a:p>
                      <a:pPr marL="457200" indent="-457200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endParaRPr lang="en-US" sz="36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89767661"/>
                  </a:ext>
                </a:extLst>
              </a:tr>
              <a:tr h="2348875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3600" b="1" dirty="0">
                          <a:solidFill>
                            <a:schemeClr val="bg1"/>
                          </a:solidFill>
                        </a:rPr>
                        <a:t>My key “NAMA Moment”</a:t>
                      </a:r>
                    </a:p>
                  </a:txBody>
                  <a:tcPr>
                    <a:solidFill>
                      <a:srgbClr val="008540"/>
                    </a:solidFill>
                  </a:tcPr>
                </a:tc>
                <a:tc>
                  <a:txBody>
                    <a:bodyPr/>
                    <a:lstStyle/>
                    <a:p>
                      <a:pPr marL="571500" indent="-571500">
                        <a:lnSpc>
                          <a:spcPct val="10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3600" dirty="0">
                          <a:solidFill>
                            <a:schemeClr val="tx1"/>
                          </a:solidFill>
                        </a:rPr>
                        <a:t>X</a:t>
                      </a:r>
                      <a:endParaRPr lang="en-US" sz="3600" i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523823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41358606"/>
      </p:ext>
    </p:extLst>
  </p:cSld>
  <p:clrMapOvr>
    <a:masterClrMapping/>
  </p:clrMapOvr>
  <p:transition spd="med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6E60AEA-B2DB-4094-A6A6-FF572F5DFA2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133745" y="4905572"/>
            <a:ext cx="16800675" cy="1292658"/>
          </a:xfrm>
        </p:spPr>
        <p:txBody>
          <a:bodyPr/>
          <a:lstStyle/>
          <a:p>
            <a:r>
              <a:rPr lang="en-US" sz="8000" b="1" dirty="0">
                <a:solidFill>
                  <a:schemeClr val="tx1"/>
                </a:solidFill>
              </a:rPr>
              <a:t>ABOUT NAMA</a:t>
            </a:r>
            <a:endParaRPr lang="en-US" sz="4800" b="0" i="1" dirty="0">
              <a:solidFill>
                <a:schemeClr val="tx1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3DD391E-F156-4BF8-A78A-D95100196926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>
          <a:xfrm>
            <a:off x="22982729" y="517294"/>
            <a:ext cx="420564" cy="333425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r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500" b="1" i="0" u="none" strike="noStrike" cap="all" spc="214" normalizeH="0" baseline="0">
                <a:ln>
                  <a:noFill/>
                </a:ln>
                <a:solidFill>
                  <a:srgbClr val="D5D5D5"/>
                </a:solidFill>
                <a:effectLst/>
                <a:uFillTx/>
                <a:latin typeface="Arial" charset="0"/>
                <a:ea typeface="Arial" charset="0"/>
                <a:cs typeface="Arial" charset="0"/>
                <a:sym typeface="DIN Next LT Pro"/>
              </a:defRPr>
            </a:lvl1pPr>
            <a:lvl2pPr marL="0" marR="0" indent="0" algn="l" defTabSz="457200" rtl="0" fontAlgn="auto" latinLnBrk="0" hangingPunct="0">
              <a:lnSpc>
                <a:spcPct val="1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200" b="0" i="0" u="none" strike="noStrike" cap="none" spc="42" normalizeH="0" baseline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Gotham Light"/>
                <a:ea typeface="Gotham Light"/>
                <a:cs typeface="Gotham Light"/>
                <a:sym typeface="Gotham Light"/>
              </a:defRPr>
            </a:lvl2pPr>
            <a:lvl3pPr marL="0" marR="0" indent="0" algn="l" defTabSz="457200" rtl="0" fontAlgn="auto" latinLnBrk="0" hangingPunct="0">
              <a:lnSpc>
                <a:spcPct val="1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200" b="0" i="0" u="none" strike="noStrike" cap="none" spc="42" normalizeH="0" baseline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Gotham Light"/>
                <a:ea typeface="Gotham Light"/>
                <a:cs typeface="Gotham Light"/>
                <a:sym typeface="Gotham Light"/>
              </a:defRPr>
            </a:lvl3pPr>
            <a:lvl4pPr marL="0" marR="0" indent="0" algn="l" defTabSz="457200" rtl="0" fontAlgn="auto" latinLnBrk="0" hangingPunct="0">
              <a:lnSpc>
                <a:spcPct val="1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200" b="0" i="0" u="none" strike="noStrike" cap="none" spc="42" normalizeH="0" baseline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Gotham Light"/>
                <a:ea typeface="Gotham Light"/>
                <a:cs typeface="Gotham Light"/>
                <a:sym typeface="Gotham Light"/>
              </a:defRPr>
            </a:lvl4pPr>
            <a:lvl5pPr marL="0" marR="0" indent="0" algn="l" defTabSz="457200" rtl="0" fontAlgn="auto" latinLnBrk="0" hangingPunct="0">
              <a:lnSpc>
                <a:spcPct val="1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200" b="0" i="0" u="none" strike="noStrike" cap="none" spc="42" normalizeH="0" baseline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Gotham Light"/>
                <a:ea typeface="Gotham Light"/>
                <a:cs typeface="Gotham Light"/>
                <a:sym typeface="Gotham Light"/>
              </a:defRPr>
            </a:lvl5pPr>
            <a:lvl6pPr marL="0" marR="0" indent="0" algn="l" defTabSz="457200" rtl="0" fontAlgn="auto" latinLnBrk="0" hangingPunct="0">
              <a:lnSpc>
                <a:spcPct val="1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200" b="0" i="0" u="none" strike="noStrike" cap="none" spc="42" normalizeH="0" baseline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Gotham Light"/>
                <a:ea typeface="Gotham Light"/>
                <a:cs typeface="Gotham Light"/>
                <a:sym typeface="Gotham Light"/>
              </a:defRPr>
            </a:lvl6pPr>
            <a:lvl7pPr marL="0" marR="0" indent="0" algn="l" defTabSz="457200" rtl="0" fontAlgn="auto" latinLnBrk="0" hangingPunct="0">
              <a:lnSpc>
                <a:spcPct val="1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200" b="0" i="0" u="none" strike="noStrike" cap="none" spc="42" normalizeH="0" baseline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Gotham Light"/>
                <a:ea typeface="Gotham Light"/>
                <a:cs typeface="Gotham Light"/>
                <a:sym typeface="Gotham Light"/>
              </a:defRPr>
            </a:lvl7pPr>
            <a:lvl8pPr marL="0" marR="0" indent="0" algn="l" defTabSz="457200" rtl="0" fontAlgn="auto" latinLnBrk="0" hangingPunct="0">
              <a:lnSpc>
                <a:spcPct val="1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200" b="0" i="0" u="none" strike="noStrike" cap="none" spc="42" normalizeH="0" baseline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Gotham Light"/>
                <a:ea typeface="Gotham Light"/>
                <a:cs typeface="Gotham Light"/>
                <a:sym typeface="Gotham Light"/>
              </a:defRPr>
            </a:lvl8pPr>
            <a:lvl9pPr marL="0" marR="0" indent="0" algn="l" defTabSz="457200" rtl="0" fontAlgn="auto" latinLnBrk="0" hangingPunct="0">
              <a:lnSpc>
                <a:spcPct val="1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200" b="0" i="0" u="none" strike="noStrike" cap="none" spc="42" normalizeH="0" baseline="0">
                <a:ln>
                  <a:noFill/>
                </a:ln>
                <a:solidFill>
                  <a:srgbClr val="5E5E5E"/>
                </a:solidFill>
                <a:effectLst/>
                <a:uFillTx/>
                <a:latin typeface="Gotham Light"/>
                <a:ea typeface="Gotham Light"/>
                <a:cs typeface="Gotham Light"/>
                <a:sym typeface="Gotham Light"/>
              </a:defRPr>
            </a:lvl9pPr>
          </a:lstStyle>
          <a:p>
            <a:fld id="{86CB4B4D-7CA3-9044-876B-883B54F8677D}" type="slidenum">
              <a:rPr lang="uk-UA" smtClean="0"/>
              <a:pPr/>
              <a:t>5</a:t>
            </a:fld>
            <a:endParaRPr lang="uk-UA"/>
          </a:p>
        </p:txBody>
      </p:sp>
      <p:pic>
        <p:nvPicPr>
          <p:cNvPr id="9218" name="Picture 2" descr="nama-logo · | Reel Chicago - At the intersection of Chicago Advertising,  Entertainment, Media and Production">
            <a:extLst>
              <a:ext uri="{FF2B5EF4-FFF2-40B4-BE49-F238E27FC236}">
                <a16:creationId xmlns:a16="http://schemas.microsoft.com/office/drawing/2014/main" id="{DD3C9A34-04AE-024A-8D74-B88370754D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8540" y="3860800"/>
            <a:ext cx="4071620" cy="44901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9914611"/>
      </p:ext>
    </p:extLst>
  </p:cSld>
  <p:clrMapOvr>
    <a:masterClrMapping/>
  </p:clrMapOvr>
  <p:transition spd="med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NAMA PP Slides_Page_05.jp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74" y="1786"/>
            <a:ext cx="24371556" cy="13712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569420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F7FF7E6D-D187-DD4B-B52E-F6D17FE93106}"/>
              </a:ext>
            </a:extLst>
          </p:cNvPr>
          <p:cNvSpPr txBox="1"/>
          <p:nvPr/>
        </p:nvSpPr>
        <p:spPr>
          <a:xfrm>
            <a:off x="792480" y="11826240"/>
            <a:ext cx="22981920" cy="1676400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l" defTabSz="457200" rtl="0" fontAlgn="auto" latinLnBrk="0" hangingPunct="0">
              <a:lnSpc>
                <a:spcPct val="1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4200" b="0" i="0" u="none" strike="noStrike" cap="none" spc="42" normalizeH="0" baseline="0" dirty="0">
              <a:ln>
                <a:noFill/>
              </a:ln>
              <a:solidFill>
                <a:srgbClr val="5E5E5E"/>
              </a:solidFill>
              <a:effectLst/>
              <a:uFillTx/>
              <a:latin typeface="Gotham Light"/>
              <a:ea typeface="Gotham Light"/>
              <a:cs typeface="Gotham Light"/>
              <a:sym typeface="Gotham Light"/>
            </a:endParaRPr>
          </a:p>
        </p:txBody>
      </p:sp>
      <p:pic>
        <p:nvPicPr>
          <p:cNvPr id="4" name="Picture 3" descr="Graphical user interface&#10;&#10;Description automatically generated with medium confidence">
            <a:extLst>
              <a:ext uri="{FF2B5EF4-FFF2-40B4-BE49-F238E27FC236}">
                <a16:creationId xmlns:a16="http://schemas.microsoft.com/office/drawing/2014/main" id="{8DA6EE05-5910-B24F-BF20-1B43D37A500B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9221" r="5715" b="1871"/>
          <a:stretch/>
        </p:blipFill>
        <p:spPr>
          <a:xfrm>
            <a:off x="2306782" y="2512493"/>
            <a:ext cx="19953316" cy="9004592"/>
          </a:xfrm>
          <a:prstGeom prst="rect">
            <a:avLst/>
          </a:prstGeom>
        </p:spPr>
      </p:pic>
      <p:pic>
        <p:nvPicPr>
          <p:cNvPr id="5" name="Picture 2" descr="nama-logo · | Reel Chicago - At the intersection of Chicago Advertising,  Entertainment, Media and Production">
            <a:extLst>
              <a:ext uri="{FF2B5EF4-FFF2-40B4-BE49-F238E27FC236}">
                <a16:creationId xmlns:a16="http://schemas.microsoft.com/office/drawing/2014/main" id="{F02633F0-0FAF-AF4F-8060-40A8716F91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1460014" y="10482434"/>
            <a:ext cx="2458326" cy="27110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B9E1F6D9-243F-4A72-9C22-25233DF9ECFC}"/>
              </a:ext>
            </a:extLst>
          </p:cNvPr>
          <p:cNvSpPr txBox="1"/>
          <p:nvPr/>
        </p:nvSpPr>
        <p:spPr>
          <a:xfrm>
            <a:off x="1026622" y="527448"/>
            <a:ext cx="12194770" cy="139698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marL="0" marR="0" indent="0" algn="l" defTabSz="457200" rtl="0" fontAlgn="auto" latinLnBrk="0" hangingPunct="0">
              <a:lnSpc>
                <a:spcPct val="1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5400" b="0" i="0" u="none" strike="noStrike" cap="none" spc="42" normalizeH="0" baseline="0" dirty="0">
                <a:ln>
                  <a:noFill/>
                </a:ln>
                <a:solidFill>
                  <a:srgbClr val="008540"/>
                </a:solidFill>
                <a:effectLst/>
                <a:uFillTx/>
                <a:latin typeface="Gotham Light"/>
                <a:ea typeface="Gotham Light"/>
                <a:cs typeface="Gotham Light"/>
                <a:sym typeface="Gotham Light"/>
              </a:rPr>
              <a:t>Who are NAMA Members?</a:t>
            </a:r>
          </a:p>
        </p:txBody>
      </p:sp>
    </p:spTree>
    <p:extLst>
      <p:ext uri="{BB962C8B-B14F-4D97-AF65-F5344CB8AC3E}">
        <p14:creationId xmlns:p14="http://schemas.microsoft.com/office/powerpoint/2010/main" val="1069164711"/>
      </p:ext>
    </p:extLst>
  </p:cSld>
  <p:clrMapOvr>
    <a:masterClrMapping/>
  </p:clrMapOvr>
  <p:transition spd="med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F7FF7E6D-D187-DD4B-B52E-F6D17FE93106}"/>
              </a:ext>
            </a:extLst>
          </p:cNvPr>
          <p:cNvSpPr txBox="1"/>
          <p:nvPr/>
        </p:nvSpPr>
        <p:spPr>
          <a:xfrm>
            <a:off x="792480" y="11826240"/>
            <a:ext cx="22981920" cy="1676400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l" defTabSz="457200" rtl="0" fontAlgn="auto" latinLnBrk="0" hangingPunct="0">
              <a:lnSpc>
                <a:spcPct val="1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4200" b="0" i="0" u="none" strike="noStrike" cap="none" spc="42" normalizeH="0" baseline="0" dirty="0">
              <a:ln>
                <a:noFill/>
              </a:ln>
              <a:solidFill>
                <a:srgbClr val="5E5E5E"/>
              </a:solidFill>
              <a:effectLst/>
              <a:uFillTx/>
              <a:latin typeface="Gotham Light"/>
              <a:ea typeface="Gotham Light"/>
              <a:cs typeface="Gotham Light"/>
              <a:sym typeface="Gotham Light"/>
            </a:endParaRPr>
          </a:p>
        </p:txBody>
      </p:sp>
      <p:pic>
        <p:nvPicPr>
          <p:cNvPr id="4" name="Picture 3" descr="Text&#10;&#10;Description automatically generated">
            <a:extLst>
              <a:ext uri="{FF2B5EF4-FFF2-40B4-BE49-F238E27FC236}">
                <a16:creationId xmlns:a16="http://schemas.microsoft.com/office/drawing/2014/main" id="{373C022D-2D7A-8242-B6A4-38FD6BA9F20B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1572"/>
          <a:stretch/>
        </p:blipFill>
        <p:spPr>
          <a:xfrm>
            <a:off x="-3209" y="2626822"/>
            <a:ext cx="24387209" cy="1108917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9C776329-0B7D-41E7-A475-9EF799097D6E}"/>
              </a:ext>
            </a:extLst>
          </p:cNvPr>
          <p:cNvSpPr txBox="1"/>
          <p:nvPr/>
        </p:nvSpPr>
        <p:spPr>
          <a:xfrm>
            <a:off x="1026622" y="527448"/>
            <a:ext cx="12194770" cy="139698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marL="0" marR="0" indent="0" algn="l" defTabSz="457200" rtl="0" fontAlgn="auto" latinLnBrk="0" hangingPunct="0">
              <a:lnSpc>
                <a:spcPct val="1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5400" b="0" i="0" u="none" strike="noStrike" cap="none" spc="42" normalizeH="0" baseline="0" dirty="0">
                <a:ln>
                  <a:noFill/>
                </a:ln>
                <a:solidFill>
                  <a:srgbClr val="008540"/>
                </a:solidFill>
                <a:effectLst/>
                <a:uFillTx/>
                <a:latin typeface="Gotham Light"/>
                <a:ea typeface="Gotham Light"/>
                <a:cs typeface="Gotham Light"/>
                <a:sym typeface="Gotham Light"/>
              </a:rPr>
              <a:t>The NAMA Membership Value</a:t>
            </a:r>
          </a:p>
        </p:txBody>
      </p:sp>
    </p:spTree>
    <p:extLst>
      <p:ext uri="{BB962C8B-B14F-4D97-AF65-F5344CB8AC3E}">
        <p14:creationId xmlns:p14="http://schemas.microsoft.com/office/powerpoint/2010/main" val="2969885114"/>
      </p:ext>
    </p:extLst>
  </p:cSld>
  <p:clrMapOvr>
    <a:masterClrMapping/>
  </p:clrMapOvr>
  <p:transition spd="med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NAMA rebrand powerpoint.pdf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75" y="1786"/>
            <a:ext cx="24377650" cy="13712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839711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FLMH Master (Orange)">
  <a:themeElements>
    <a:clrScheme name="FLMH 1">
      <a:dk1>
        <a:srgbClr val="5E5E5E"/>
      </a:dk1>
      <a:lt1>
        <a:srgbClr val="FFFFFF"/>
      </a:lt1>
      <a:dk2>
        <a:srgbClr val="A7A7A7"/>
      </a:dk2>
      <a:lt2>
        <a:srgbClr val="535353"/>
      </a:lt2>
      <a:accent1>
        <a:srgbClr val="FF5C34"/>
      </a:accent1>
      <a:accent2>
        <a:srgbClr val="6F7171"/>
      </a:accent2>
      <a:accent3>
        <a:srgbClr val="4698CB"/>
      </a:accent3>
      <a:accent4>
        <a:srgbClr val="DAA900"/>
      </a:accent4>
      <a:accent5>
        <a:srgbClr val="FF644E"/>
      </a:accent5>
      <a:accent6>
        <a:srgbClr val="A9A9A9"/>
      </a:accent6>
      <a:hlink>
        <a:srgbClr val="0000FF"/>
      </a:hlink>
      <a:folHlink>
        <a:srgbClr val="FF00F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0" tIns="0" rIns="0" bIns="0" numCol="1" spcCol="38100" rtlCol="0" anchor="ctr">
        <a:spAutoFit/>
      </a:bodyPr>
      <a:lstStyle>
        <a:defPPr marL="0" marR="0" indent="0" algn="l" defTabSz="457200" rtl="0" fontAlgn="auto" latinLnBrk="0" hangingPunct="0">
          <a:lnSpc>
            <a:spcPct val="18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4200" b="0" i="0" u="none" strike="noStrike" cap="none" spc="42" normalizeH="0" baseline="0">
            <a:ln>
              <a:noFill/>
            </a:ln>
            <a:solidFill>
              <a:srgbClr val="5E5E5E"/>
            </a:solidFill>
            <a:effectLst/>
            <a:uFillTx/>
            <a:latin typeface="Gotham Light"/>
            <a:ea typeface="Gotham Light"/>
            <a:cs typeface="Gotham Light"/>
            <a:sym typeface="Gotham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l" defTabSz="457200" rtl="0" fontAlgn="auto" latinLnBrk="0" hangingPunct="0">
          <a:lnSpc>
            <a:spcPct val="18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4200" b="0" i="0" u="none" strike="noStrike" cap="none" spc="42" normalizeH="0" baseline="0">
            <a:ln>
              <a:noFill/>
            </a:ln>
            <a:solidFill>
              <a:srgbClr val="5E5E5E"/>
            </a:solidFill>
            <a:effectLst/>
            <a:uFillTx/>
            <a:latin typeface="Gotham Light"/>
            <a:ea typeface="Gotham Light"/>
            <a:cs typeface="Gotham Light"/>
            <a:sym typeface="Gotham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  <a:extLst>
    <a:ext uri="{05A4C25C-085E-4340-85A3-A5531E510DB2}">
      <thm15:themeFamily xmlns:thm15="http://schemas.microsoft.com/office/thememl/2012/main" name="FLMH_PPT_Template_New_Jul2019" id="{CAFB45EE-0D03-6041-ACED-711EEF8A809A}" vid="{7BA674AA-2E35-2A48-976A-81CE3AF2EA7E}"/>
    </a:ext>
  </a:extLst>
</a:theme>
</file>

<file path=ppt/theme/theme2.xml><?xml version="1.0" encoding="utf-8"?>
<a:theme xmlns:a="http://schemas.openxmlformats.org/drawingml/2006/main" name="2_FLMH Master (Orange)">
  <a:themeElements>
    <a:clrScheme name="White">
      <a:dk1>
        <a:srgbClr val="5E5E5E"/>
      </a:dk1>
      <a:lt1>
        <a:srgbClr val="FFFFFF"/>
      </a:lt1>
      <a:dk2>
        <a:srgbClr val="A7A7A7"/>
      </a:dk2>
      <a:lt2>
        <a:srgbClr val="535353"/>
      </a:lt2>
      <a:accent1>
        <a:srgbClr val="00A2FF"/>
      </a:accent1>
      <a:accent2>
        <a:srgbClr val="16E7CF"/>
      </a:accent2>
      <a:accent3>
        <a:srgbClr val="61D836"/>
      </a:accent3>
      <a:accent4>
        <a:srgbClr val="FAE232"/>
      </a:accent4>
      <a:accent5>
        <a:srgbClr val="FF644E"/>
      </a:accent5>
      <a:accent6>
        <a:srgbClr val="EF5FA7"/>
      </a:accent6>
      <a:hlink>
        <a:srgbClr val="0000FF"/>
      </a:hlink>
      <a:folHlink>
        <a:srgbClr val="FF00FF"/>
      </a:folHlink>
    </a:clrScheme>
    <a:fontScheme name="White">
      <a:majorFont>
        <a:latin typeface="Helvetica"/>
        <a:ea typeface="Helvetica"/>
        <a:cs typeface="Helvetica"/>
      </a:majorFont>
      <a:minorFont>
        <a:latin typeface="Helvetica Neue"/>
        <a:ea typeface="Helvetica Neue"/>
        <a:cs typeface="Helvetica Neue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0" tIns="0" rIns="0" bIns="0" numCol="1" spcCol="38100" rtlCol="0" anchor="ctr">
        <a:spAutoFit/>
      </a:bodyPr>
      <a:lstStyle>
        <a:defPPr marL="0" marR="0" indent="0" algn="l" defTabSz="457200" rtl="0" fontAlgn="auto" latinLnBrk="0" hangingPunct="0">
          <a:lnSpc>
            <a:spcPct val="18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4200" b="0" i="0" u="none" strike="noStrike" cap="none" spc="42" normalizeH="0" baseline="0">
            <a:ln>
              <a:noFill/>
            </a:ln>
            <a:solidFill>
              <a:srgbClr val="5E5E5E"/>
            </a:solidFill>
            <a:effectLst/>
            <a:uFillTx/>
            <a:latin typeface="Gotham Light"/>
            <a:ea typeface="Gotham Light"/>
            <a:cs typeface="Gotham Light"/>
            <a:sym typeface="Gotham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l" defTabSz="457200" rtl="0" fontAlgn="auto" latinLnBrk="0" hangingPunct="0">
          <a:lnSpc>
            <a:spcPct val="18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4200" b="0" i="0" u="none" strike="noStrike" cap="none" spc="42" normalizeH="0" baseline="0">
            <a:ln>
              <a:noFill/>
            </a:ln>
            <a:solidFill>
              <a:srgbClr val="5E5E5E"/>
            </a:solidFill>
            <a:effectLst/>
            <a:uFillTx/>
            <a:latin typeface="Gotham Light"/>
            <a:ea typeface="Gotham Light"/>
            <a:cs typeface="Gotham Light"/>
            <a:sym typeface="Gotham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  <a:extLst>
    <a:ext uri="{05A4C25C-085E-4340-85A3-A5531E510DB2}">
      <thm15:themeFamily xmlns:thm15="http://schemas.microsoft.com/office/thememl/2012/main" name="FLMH_PPT_Template_New_Jul2019" id="{CAFB45EE-0D03-6041-ACED-711EEF8A809A}" vid="{9AEC9D1F-EBFE-B245-A8A3-22C593CFFA39}"/>
    </a:ext>
  </a:extLst>
</a:theme>
</file>

<file path=ppt/theme/theme3.xml><?xml version="1.0" encoding="utf-8"?>
<a:theme xmlns:a="http://schemas.openxmlformats.org/drawingml/2006/main" name="Custom Design">
  <a:themeElements>
    <a:clrScheme name="FLMH 1">
      <a:dk1>
        <a:srgbClr val="5E5E5E"/>
      </a:dk1>
      <a:lt1>
        <a:srgbClr val="FFFFFF"/>
      </a:lt1>
      <a:dk2>
        <a:srgbClr val="A7A7A7"/>
      </a:dk2>
      <a:lt2>
        <a:srgbClr val="535353"/>
      </a:lt2>
      <a:accent1>
        <a:srgbClr val="FF5C34"/>
      </a:accent1>
      <a:accent2>
        <a:srgbClr val="6F7171"/>
      </a:accent2>
      <a:accent3>
        <a:srgbClr val="4698CB"/>
      </a:accent3>
      <a:accent4>
        <a:srgbClr val="DAA900"/>
      </a:accent4>
      <a:accent5>
        <a:srgbClr val="FF644E"/>
      </a:accent5>
      <a:accent6>
        <a:srgbClr val="A9A9A9"/>
      </a:accent6>
      <a:hlink>
        <a:srgbClr val="0000FF"/>
      </a:hlink>
      <a:folHlink>
        <a:srgbClr val="FF00FF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LMH_PPT_Template_New_Jul2019" id="{CAFB45EE-0D03-6041-ACED-711EEF8A809A}" vid="{5647260C-6BF2-8642-A612-4F34A3D65A28}"/>
    </a:ext>
  </a:extLst>
</a:theme>
</file>

<file path=ppt/theme/theme4.xml><?xml version="1.0" encoding="utf-8"?>
<a:theme xmlns:a="http://schemas.openxmlformats.org/drawingml/2006/main" name="1_LOL with logo">
  <a:themeElements>
    <a:clrScheme name="Custom 1">
      <a:dk1>
        <a:srgbClr val="37393A"/>
      </a:dk1>
      <a:lt1>
        <a:srgbClr val="FFFFFF"/>
      </a:lt1>
      <a:dk2>
        <a:srgbClr val="37393A"/>
      </a:dk2>
      <a:lt2>
        <a:srgbClr val="918C78"/>
      </a:lt2>
      <a:accent1>
        <a:srgbClr val="285A41"/>
      </a:accent1>
      <a:accent2>
        <a:srgbClr val="CDA041"/>
      </a:accent2>
      <a:accent3>
        <a:srgbClr val="96BEB9"/>
      </a:accent3>
      <a:accent4>
        <a:srgbClr val="BD493D"/>
      </a:accent4>
      <a:accent5>
        <a:srgbClr val="918C78"/>
      </a:accent5>
      <a:accent6>
        <a:srgbClr val="FFFFFF"/>
      </a:accent6>
      <a:hlink>
        <a:srgbClr val="37393A"/>
      </a:hlink>
      <a:folHlink>
        <a:srgbClr val="37393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>
          <a:outerShdw blurRad="40000" dist="23000" dir="5400000" rotWithShape="0">
            <a:schemeClr val="tx2">
              <a:alpha val="35000"/>
            </a:schemeClr>
          </a:outerShdw>
        </a:effectLst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2_LOL with logo">
  <a:themeElements>
    <a:clrScheme name="Custom 1">
      <a:dk1>
        <a:srgbClr val="37393A"/>
      </a:dk1>
      <a:lt1>
        <a:srgbClr val="FFFFFF"/>
      </a:lt1>
      <a:dk2>
        <a:srgbClr val="37393A"/>
      </a:dk2>
      <a:lt2>
        <a:srgbClr val="918C78"/>
      </a:lt2>
      <a:accent1>
        <a:srgbClr val="285A41"/>
      </a:accent1>
      <a:accent2>
        <a:srgbClr val="CDA041"/>
      </a:accent2>
      <a:accent3>
        <a:srgbClr val="96BEB9"/>
      </a:accent3>
      <a:accent4>
        <a:srgbClr val="BD493D"/>
      </a:accent4>
      <a:accent5>
        <a:srgbClr val="918C78"/>
      </a:accent5>
      <a:accent6>
        <a:srgbClr val="FFFFFF"/>
      </a:accent6>
      <a:hlink>
        <a:srgbClr val="37393A"/>
      </a:hlink>
      <a:folHlink>
        <a:srgbClr val="37393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>
          <a:outerShdw blurRad="40000" dist="23000" dir="5400000" rotWithShape="0">
            <a:schemeClr val="tx2">
              <a:alpha val="35000"/>
            </a:schemeClr>
          </a:outerShdw>
        </a:effectLst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1_FLMH Master (Orange)</Template>
  <TotalTime>43524</TotalTime>
  <Words>157</Words>
  <Application>Microsoft Office PowerPoint</Application>
  <PresentationFormat>Custom</PresentationFormat>
  <Paragraphs>57</Paragraphs>
  <Slides>1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34" baseType="lpstr">
      <vt:lpstr>arial</vt:lpstr>
      <vt:lpstr>arial</vt:lpstr>
      <vt:lpstr>Arial Narrow</vt:lpstr>
      <vt:lpstr>Arial Regular</vt:lpstr>
      <vt:lpstr>Calibri</vt:lpstr>
      <vt:lpstr>Courier New</vt:lpstr>
      <vt:lpstr>DIN Next LT Pro</vt:lpstr>
      <vt:lpstr>Georgia</vt:lpstr>
      <vt:lpstr>Gotham</vt:lpstr>
      <vt:lpstr>Gotham Light</vt:lpstr>
      <vt:lpstr>Wingdings</vt:lpstr>
      <vt:lpstr>1_FLMH Master (Orange)</vt:lpstr>
      <vt:lpstr>2_FLMH Master (Orange)</vt:lpstr>
      <vt:lpstr>Custom Design</vt:lpstr>
      <vt:lpstr>1_LOL with logo</vt:lpstr>
      <vt:lpstr>2_LOL with logo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eah Olson</dc:creator>
  <cp:lastModifiedBy>Janae Prewitt</cp:lastModifiedBy>
  <cp:revision>224</cp:revision>
  <cp:lastPrinted>2019-08-26T20:44:48Z</cp:lastPrinted>
  <dcterms:created xsi:type="dcterms:W3CDTF">2019-07-08T13:58:31Z</dcterms:created>
  <dcterms:modified xsi:type="dcterms:W3CDTF">2022-10-17T20:00:15Z</dcterms:modified>
</cp:coreProperties>
</file>